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20.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8.xml" ContentType="application/vnd.openxmlformats-officedocument.theme+xml"/>
  <Override PartName="/ppt/tags/tag11.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9.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10.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11.xml" ContentType="application/vnd.openxmlformats-officedocument.theme+xml"/>
  <Override PartName="/ppt/tags/tag16.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1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55" r:id="rId4"/>
    <p:sldMasterId id="2147483660" r:id="rId5"/>
    <p:sldMasterId id="2147483705" r:id="rId6"/>
    <p:sldMasterId id="2147483673" r:id="rId7"/>
    <p:sldMasterId id="2147483761" r:id="rId8"/>
    <p:sldMasterId id="2147483769" r:id="rId9"/>
    <p:sldMasterId id="2147483771" r:id="rId10"/>
    <p:sldMasterId id="2147483777" r:id="rId11"/>
    <p:sldMasterId id="2147483780" r:id="rId12"/>
    <p:sldMasterId id="2147483789" r:id="rId13"/>
    <p:sldMasterId id="2147483795" r:id="rId14"/>
    <p:sldMasterId id="2147483800" r:id="rId15"/>
  </p:sldMasterIdLst>
  <p:notesMasterIdLst>
    <p:notesMasterId r:id="rId25"/>
  </p:notesMasterIdLst>
  <p:handoutMasterIdLst>
    <p:handoutMasterId r:id="rId26"/>
  </p:handoutMasterIdLst>
  <p:sldIdLst>
    <p:sldId id="776" r:id="rId16"/>
    <p:sldId id="768" r:id="rId17"/>
    <p:sldId id="777" r:id="rId18"/>
    <p:sldId id="778" r:id="rId19"/>
    <p:sldId id="769" r:id="rId20"/>
    <p:sldId id="770" r:id="rId21"/>
    <p:sldId id="771" r:id="rId22"/>
    <p:sldId id="772" r:id="rId23"/>
    <p:sldId id="773" r:id="rId24"/>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614" userDrawn="1">
          <p15:clr>
            <a:srgbClr val="A4A3A4"/>
          </p15:clr>
        </p15:guide>
        <p15:guide id="2" pos="381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Xuemei Fan" initials="XF" lastIdx="0" clrIdx="0">
    <p:extLst>
      <p:ext uri="{19B8F6BF-5375-455C-9EA6-DF929625EA0E}">
        <p15:presenceInfo xmlns:p15="http://schemas.microsoft.com/office/powerpoint/2012/main" userId="S-1-12-1-188966357-1089988657-3881295495-4183214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3C00"/>
    <a:srgbClr val="B2920A"/>
    <a:srgbClr val="F2C811"/>
    <a:srgbClr val="062882"/>
    <a:srgbClr val="000000"/>
    <a:srgbClr val="00B050"/>
    <a:srgbClr val="F2E9F2"/>
    <a:srgbClr val="E45725"/>
    <a:srgbClr val="B881B8"/>
    <a:srgbClr val="007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98" autoAdjust="0"/>
    <p:restoredTop sz="84776" autoAdjust="0"/>
  </p:normalViewPr>
  <p:slideViewPr>
    <p:cSldViewPr snapToGrid="0">
      <p:cViewPr varScale="1">
        <p:scale>
          <a:sx n="122" d="100"/>
          <a:sy n="122" d="100"/>
        </p:scale>
        <p:origin x="106" y="91"/>
      </p:cViewPr>
      <p:guideLst>
        <p:guide orient="horz" pos="2614"/>
        <p:guide pos="3817"/>
      </p:guideLst>
    </p:cSldViewPr>
  </p:slideViewPr>
  <p:notesTextViewPr>
    <p:cViewPr>
      <p:scale>
        <a:sx n="125" d="100"/>
        <a:sy n="125" d="100"/>
      </p:scale>
      <p:origin x="0" y="0"/>
    </p:cViewPr>
  </p:notesTextViewPr>
  <p:sorterViewPr>
    <p:cViewPr>
      <p:scale>
        <a:sx n="100" d="100"/>
        <a:sy n="100" d="100"/>
      </p:scale>
      <p:origin x="0" y="-1296"/>
    </p:cViewPr>
  </p:sorterViewPr>
  <p:notesViewPr>
    <p:cSldViewPr snapToGrid="0">
      <p:cViewPr varScale="1">
        <p:scale>
          <a:sx n="45" d="100"/>
          <a:sy n="45" d="100"/>
        </p:scale>
        <p:origin x="1912" y="60"/>
      </p:cViewPr>
      <p:guideLst/>
    </p:cSldViewPr>
  </p:notesViewPr>
  <p:gridSpacing cx="45000" cy="450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6.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448" cy="497918"/>
          </a:xfrm>
          <a:prstGeom prst="rect">
            <a:avLst/>
          </a:prstGeom>
        </p:spPr>
        <p:txBody>
          <a:bodyPr vert="horz" lIns="91312" tIns="45656" rIns="91312" bIns="45656" rtlCol="0"/>
          <a:lstStyle>
            <a:lvl1pPr algn="l">
              <a:defRPr sz="1200"/>
            </a:lvl1pPr>
          </a:lstStyle>
          <a:p>
            <a:endParaRPr lang="en-AU"/>
          </a:p>
        </p:txBody>
      </p:sp>
      <p:sp>
        <p:nvSpPr>
          <p:cNvPr id="3" name="Date Placeholder 2"/>
          <p:cNvSpPr>
            <a:spLocks noGrp="1"/>
          </p:cNvSpPr>
          <p:nvPr>
            <p:ph type="dt" sz="quarter" idx="1"/>
          </p:nvPr>
        </p:nvSpPr>
        <p:spPr>
          <a:xfrm>
            <a:off x="3850643" y="1"/>
            <a:ext cx="2945448" cy="497918"/>
          </a:xfrm>
          <a:prstGeom prst="rect">
            <a:avLst/>
          </a:prstGeom>
        </p:spPr>
        <p:txBody>
          <a:bodyPr vert="horz" lIns="91312" tIns="45656" rIns="91312" bIns="45656" rtlCol="0"/>
          <a:lstStyle>
            <a:lvl1pPr algn="r">
              <a:defRPr sz="1200"/>
            </a:lvl1pPr>
          </a:lstStyle>
          <a:p>
            <a:fld id="{32F2C988-0584-49D8-B341-A70AD3AD9DAA}" type="datetimeFigureOut">
              <a:rPr lang="en-AU" smtClean="0"/>
              <a:t>10/06/2019</a:t>
            </a:fld>
            <a:endParaRPr lang="en-AU"/>
          </a:p>
        </p:txBody>
      </p:sp>
      <p:sp>
        <p:nvSpPr>
          <p:cNvPr id="4" name="Footer Placeholder 3"/>
          <p:cNvSpPr>
            <a:spLocks noGrp="1"/>
          </p:cNvSpPr>
          <p:nvPr>
            <p:ph type="ftr" sz="quarter" idx="2"/>
          </p:nvPr>
        </p:nvSpPr>
        <p:spPr>
          <a:xfrm>
            <a:off x="0" y="9430307"/>
            <a:ext cx="2945448" cy="497918"/>
          </a:xfrm>
          <a:prstGeom prst="rect">
            <a:avLst/>
          </a:prstGeom>
        </p:spPr>
        <p:txBody>
          <a:bodyPr vert="horz" lIns="91312" tIns="45656" rIns="91312" bIns="45656" rtlCol="0" anchor="b"/>
          <a:lstStyle>
            <a:lvl1pPr algn="l">
              <a:defRPr sz="1200"/>
            </a:lvl1pPr>
          </a:lstStyle>
          <a:p>
            <a:endParaRPr lang="en-AU"/>
          </a:p>
        </p:txBody>
      </p:sp>
      <p:sp>
        <p:nvSpPr>
          <p:cNvPr id="5" name="Slide Number Placeholder 4"/>
          <p:cNvSpPr>
            <a:spLocks noGrp="1"/>
          </p:cNvSpPr>
          <p:nvPr>
            <p:ph type="sldNum" sz="quarter" idx="3"/>
          </p:nvPr>
        </p:nvSpPr>
        <p:spPr>
          <a:xfrm>
            <a:off x="3850643" y="9430307"/>
            <a:ext cx="2945448" cy="497918"/>
          </a:xfrm>
          <a:prstGeom prst="rect">
            <a:avLst/>
          </a:prstGeom>
        </p:spPr>
        <p:txBody>
          <a:bodyPr vert="horz" lIns="91312" tIns="45656" rIns="91312" bIns="45656" rtlCol="0" anchor="b"/>
          <a:lstStyle>
            <a:lvl1pPr algn="r">
              <a:defRPr sz="1200"/>
            </a:lvl1pPr>
          </a:lstStyle>
          <a:p>
            <a:fld id="{8D9DFE8A-C1E2-4543-B19F-309EC336FB04}" type="slidenum">
              <a:rPr lang="en-AU" smtClean="0"/>
              <a:t>‹#›</a:t>
            </a:fld>
            <a:endParaRPr lang="en-AU"/>
          </a:p>
        </p:txBody>
      </p:sp>
    </p:spTree>
    <p:extLst>
      <p:ext uri="{BB962C8B-B14F-4D97-AF65-F5344CB8AC3E}">
        <p14:creationId xmlns:p14="http://schemas.microsoft.com/office/powerpoint/2010/main" val="2296034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5659" cy="498136"/>
          </a:xfrm>
          <a:prstGeom prst="rect">
            <a:avLst/>
          </a:prstGeom>
        </p:spPr>
        <p:txBody>
          <a:bodyPr vert="horz" lIns="91312" tIns="45656" rIns="91312" bIns="45656" rtlCol="0"/>
          <a:lstStyle>
            <a:lvl1pPr algn="l">
              <a:defRPr sz="1200"/>
            </a:lvl1pPr>
          </a:lstStyle>
          <a:p>
            <a:endParaRPr lang="en-AU"/>
          </a:p>
        </p:txBody>
      </p:sp>
      <p:sp>
        <p:nvSpPr>
          <p:cNvPr id="3" name="Date Placeholder 2"/>
          <p:cNvSpPr>
            <a:spLocks noGrp="1"/>
          </p:cNvSpPr>
          <p:nvPr>
            <p:ph type="dt" idx="1"/>
          </p:nvPr>
        </p:nvSpPr>
        <p:spPr>
          <a:xfrm>
            <a:off x="3850444" y="0"/>
            <a:ext cx="2945659" cy="498136"/>
          </a:xfrm>
          <a:prstGeom prst="rect">
            <a:avLst/>
          </a:prstGeom>
        </p:spPr>
        <p:txBody>
          <a:bodyPr vert="horz" lIns="91312" tIns="45656" rIns="91312" bIns="45656" rtlCol="0"/>
          <a:lstStyle>
            <a:lvl1pPr algn="r">
              <a:defRPr sz="1200"/>
            </a:lvl1pPr>
          </a:lstStyle>
          <a:p>
            <a:fld id="{B03BFEB8-B1BA-4D62-90B7-A455E663F1F7}" type="datetimeFigureOut">
              <a:rPr lang="en-AU" smtClean="0"/>
              <a:t>10/06/2019</a:t>
            </a:fld>
            <a:endParaRPr lang="en-AU"/>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312" tIns="45656" rIns="91312" bIns="45656" rtlCol="0" anchor="ctr"/>
          <a:lstStyle/>
          <a:p>
            <a:endParaRPr lang="en-AU"/>
          </a:p>
        </p:txBody>
      </p:sp>
      <p:sp>
        <p:nvSpPr>
          <p:cNvPr id="5" name="Notes Placeholder 4"/>
          <p:cNvSpPr>
            <a:spLocks noGrp="1"/>
          </p:cNvSpPr>
          <p:nvPr>
            <p:ph type="body" sz="quarter" idx="3"/>
          </p:nvPr>
        </p:nvSpPr>
        <p:spPr>
          <a:xfrm>
            <a:off x="679768" y="4777959"/>
            <a:ext cx="5438140" cy="3909238"/>
          </a:xfrm>
          <a:prstGeom prst="rect">
            <a:avLst/>
          </a:prstGeom>
        </p:spPr>
        <p:txBody>
          <a:bodyPr vert="horz" lIns="91312" tIns="45656" rIns="91312" bIns="4565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2" y="9430092"/>
            <a:ext cx="2945659" cy="498135"/>
          </a:xfrm>
          <a:prstGeom prst="rect">
            <a:avLst/>
          </a:prstGeom>
        </p:spPr>
        <p:txBody>
          <a:bodyPr vert="horz" lIns="91312" tIns="45656" rIns="91312" bIns="45656" rtlCol="0" anchor="b"/>
          <a:lstStyle>
            <a:lvl1pPr algn="l">
              <a:defRPr sz="1200"/>
            </a:lvl1pPr>
          </a:lstStyle>
          <a:p>
            <a:endParaRPr lang="en-AU"/>
          </a:p>
        </p:txBody>
      </p:sp>
      <p:sp>
        <p:nvSpPr>
          <p:cNvPr id="7" name="Slide Number Placeholder 6"/>
          <p:cNvSpPr>
            <a:spLocks noGrp="1"/>
          </p:cNvSpPr>
          <p:nvPr>
            <p:ph type="sldNum" sz="quarter" idx="5"/>
          </p:nvPr>
        </p:nvSpPr>
        <p:spPr>
          <a:xfrm>
            <a:off x="3850444" y="9430092"/>
            <a:ext cx="2945659" cy="498135"/>
          </a:xfrm>
          <a:prstGeom prst="rect">
            <a:avLst/>
          </a:prstGeom>
        </p:spPr>
        <p:txBody>
          <a:bodyPr vert="horz" lIns="91312" tIns="45656" rIns="91312" bIns="45656" rtlCol="0" anchor="b"/>
          <a:lstStyle>
            <a:lvl1pPr algn="r">
              <a:defRPr sz="1200"/>
            </a:lvl1pPr>
          </a:lstStyle>
          <a:p>
            <a:fld id="{BC355AA6-8CB2-425C-907B-E251872D0F5E}" type="slidenum">
              <a:rPr lang="en-AU" smtClean="0"/>
              <a:t>‹#›</a:t>
            </a:fld>
            <a:endParaRPr lang="en-AU"/>
          </a:p>
        </p:txBody>
      </p:sp>
    </p:spTree>
    <p:extLst>
      <p:ext uri="{BB962C8B-B14F-4D97-AF65-F5344CB8AC3E}">
        <p14:creationId xmlns:p14="http://schemas.microsoft.com/office/powerpoint/2010/main" val="21359202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ackground_1">
    <p:spTree>
      <p:nvGrpSpPr>
        <p:cNvPr id="1" name=""/>
        <p:cNvGrpSpPr/>
        <p:nvPr/>
      </p:nvGrpSpPr>
      <p:grpSpPr>
        <a:xfrm>
          <a:off x="0" y="0"/>
          <a:ext cx="0" cy="0"/>
          <a:chOff x="0" y="0"/>
          <a:chExt cx="0" cy="0"/>
        </a:xfrm>
      </p:grpSpPr>
      <p:sp>
        <p:nvSpPr>
          <p:cNvPr id="18" name="Title 1"/>
          <p:cNvSpPr>
            <a:spLocks noGrp="1"/>
          </p:cNvSpPr>
          <p:nvPr>
            <p:ph type="ctrTitle" hasCustomPrompt="1"/>
          </p:nvPr>
        </p:nvSpPr>
        <p:spPr>
          <a:xfrm>
            <a:off x="5731226" y="2322535"/>
            <a:ext cx="5768774" cy="879910"/>
          </a:xfrm>
          <a:prstGeom prst="rect">
            <a:avLst/>
          </a:prstGeom>
        </p:spPr>
        <p:txBody>
          <a:bodyPr>
            <a:noAutofit/>
          </a:bodyPr>
          <a:lstStyle>
            <a:lvl1pPr>
              <a:defRPr sz="5000" baseline="0">
                <a:solidFill>
                  <a:schemeClr val="tx1"/>
                </a:solidFill>
              </a:defRPr>
            </a:lvl1pPr>
          </a:lstStyle>
          <a:p>
            <a:r>
              <a:rPr lang="en-US" dirty="0"/>
              <a:t>Headline here,  </a:t>
            </a:r>
            <a:br>
              <a:rPr lang="en-US" dirty="0"/>
            </a:br>
            <a:r>
              <a:rPr lang="en-US" dirty="0"/>
              <a:t> second line here</a:t>
            </a:r>
          </a:p>
        </p:txBody>
      </p:sp>
      <p:sp>
        <p:nvSpPr>
          <p:cNvPr id="21" name="Text Placeholder 7"/>
          <p:cNvSpPr>
            <a:spLocks noGrp="1"/>
          </p:cNvSpPr>
          <p:nvPr>
            <p:ph type="body" sz="quarter" idx="10" hasCustomPrompt="1"/>
          </p:nvPr>
        </p:nvSpPr>
        <p:spPr>
          <a:xfrm>
            <a:off x="6182012" y="3891200"/>
            <a:ext cx="5783797" cy="863866"/>
          </a:xfrm>
          <a:prstGeom prst="rect">
            <a:avLst/>
          </a:prstGeom>
        </p:spPr>
        <p:txBody>
          <a:bodyPr>
            <a:normAutofit/>
          </a:bodyPr>
          <a:lstStyle>
            <a:lvl1pPr marL="0" indent="0">
              <a:buNone/>
              <a:defRPr sz="2800" baseline="0">
                <a:solidFill>
                  <a:schemeClr val="tx1"/>
                </a:solidFill>
                <a:latin typeface="+mj-lt"/>
              </a:defRPr>
            </a:lvl1pPr>
            <a:lvl2pPr marL="336080" indent="0">
              <a:buNone/>
              <a:defRPr sz="1567">
                <a:solidFill>
                  <a:schemeClr val="bg1"/>
                </a:solidFill>
                <a:latin typeface="+mj-lt"/>
              </a:defRPr>
            </a:lvl2pPr>
            <a:lvl3pPr marL="560134" indent="0">
              <a:buNone/>
              <a:defRPr sz="1371">
                <a:solidFill>
                  <a:schemeClr val="bg1"/>
                </a:solidFill>
                <a:latin typeface="+mj-lt"/>
              </a:defRPr>
            </a:lvl3pPr>
            <a:lvl4pPr marL="784187" indent="0">
              <a:buNone/>
              <a:defRPr sz="1175">
                <a:solidFill>
                  <a:schemeClr val="bg1"/>
                </a:solidFill>
                <a:latin typeface="+mj-lt"/>
              </a:defRPr>
            </a:lvl4pPr>
            <a:lvl5pPr marL="1008241" indent="0">
              <a:buNone/>
              <a:defRPr sz="1175">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2762472083"/>
      </p:ext>
    </p:extLst>
  </p:cSld>
  <p:clrMapOvr>
    <a:masterClrMapping/>
  </p:clrMapOvr>
  <p:transition spd="slow">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_&amp;_Subtitle_&amp;_pic">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094" y="336132"/>
            <a:ext cx="11336415" cy="727715"/>
          </a:xfrm>
          <a:prstGeom prst="rect">
            <a:avLst/>
          </a:prstGeom>
        </p:spPr>
        <p:txBody>
          <a:bodyPr vert="horz" lIns="0" tIns="0" rIns="0" bIns="0" rtlCol="0" anchor="ctr">
            <a:normAutofit/>
          </a:bodyPr>
          <a:lstStyle>
            <a:lvl1pPr>
              <a:defRPr sz="4000" b="1" spc="-150">
                <a:solidFill>
                  <a:schemeClr val="tx1">
                    <a:lumMod val="50000"/>
                  </a:schemeClr>
                </a:solidFill>
                <a:latin typeface="+mn-lt"/>
              </a:defRPr>
            </a:lvl1pPr>
          </a:lstStyle>
          <a:p>
            <a:r>
              <a:rPr lang="en-US" dirty="0"/>
              <a:t>Title</a:t>
            </a:r>
          </a:p>
        </p:txBody>
      </p:sp>
      <p:sp>
        <p:nvSpPr>
          <p:cNvPr id="4" name="Text Placeholder 3"/>
          <p:cNvSpPr>
            <a:spLocks noGrp="1"/>
          </p:cNvSpPr>
          <p:nvPr>
            <p:ph type="body" sz="quarter" idx="12" hasCustomPrompt="1"/>
          </p:nvPr>
        </p:nvSpPr>
        <p:spPr>
          <a:xfrm>
            <a:off x="556095" y="1070528"/>
            <a:ext cx="11336414"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
        <p:nvSpPr>
          <p:cNvPr id="6" name="Picture Placeholder 5"/>
          <p:cNvSpPr>
            <a:spLocks noGrp="1"/>
          </p:cNvSpPr>
          <p:nvPr>
            <p:ph type="pic" sz="quarter" idx="13"/>
          </p:nvPr>
        </p:nvSpPr>
        <p:spPr>
          <a:xfrm>
            <a:off x="0" y="2365375"/>
            <a:ext cx="12192000" cy="4492625"/>
          </a:xfrm>
          <a:prstGeom prst="rect">
            <a:avLst/>
          </a:prstGeom>
        </p:spPr>
        <p:txBody>
          <a:bodyPr/>
          <a:lstStyle>
            <a:lvl1pPr>
              <a:defRPr>
                <a:solidFill>
                  <a:schemeClr val="tx1">
                    <a:lumMod val="50000"/>
                  </a:schemeClr>
                </a:solidFill>
              </a:defRPr>
            </a:lvl1pPr>
          </a:lstStyle>
          <a:p>
            <a:r>
              <a:rPr lang="en-US" dirty="0"/>
              <a:t>Click icon to add picture</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40718" y="6307398"/>
            <a:ext cx="1248159" cy="476891"/>
          </a:xfrm>
          <a:prstGeom prst="rect">
            <a:avLst/>
          </a:prstGeom>
        </p:spPr>
      </p:pic>
    </p:spTree>
    <p:extLst>
      <p:ext uri="{BB962C8B-B14F-4D97-AF65-F5344CB8AC3E}">
        <p14:creationId xmlns:p14="http://schemas.microsoft.com/office/powerpoint/2010/main" val="828368494"/>
      </p:ext>
    </p:extLst>
  </p:cSld>
  <p:clrMapOvr>
    <a:masterClrMapping/>
  </p:clrMapOvr>
  <p:transition spd="slow">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latin typeface="Segoe UI Light" panose="020B0502040204020203" pitchFamily="34" charset="0"/>
                <a:cs typeface="Segoe UI Light" panose="020B0502040204020203" pitchFamily="34" charset="0"/>
              </a:defRPr>
            </a:lvl1pPr>
          </a:lstStyle>
          <a:p>
            <a:r>
              <a:rPr lang="en-US" dirty="0" smtClean="0"/>
              <a:t>Click to edit Master title style</a:t>
            </a:r>
            <a:endParaRPr lang="en-AU" dirty="0"/>
          </a:p>
        </p:txBody>
      </p:sp>
      <p:sp>
        <p:nvSpPr>
          <p:cNvPr id="3" name="Content Placeholder 2"/>
          <p:cNvSpPr>
            <a:spLocks noGrp="1"/>
          </p:cNvSpPr>
          <p:nvPr>
            <p:ph idx="1"/>
          </p:nvPr>
        </p:nvSpPr>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4" name="Date Placeholder 3"/>
          <p:cNvSpPr>
            <a:spLocks noGrp="1"/>
          </p:cNvSpPr>
          <p:nvPr>
            <p:ph type="dt" sz="half" idx="10"/>
          </p:nvPr>
        </p:nvSpPr>
        <p:spPr/>
        <p:txBody>
          <a:bodyPr/>
          <a:lstStyle/>
          <a:p>
            <a:fld id="{54AE3484-B8A1-4222-B9DF-BFD33E16A4DB}" type="datetimeFigureOut">
              <a:rPr lang="en-AU" smtClean="0"/>
              <a:t>10/06/2019</a:t>
            </a:fld>
            <a:endParaRPr lang="en-AU"/>
          </a:p>
        </p:txBody>
      </p:sp>
      <p:sp>
        <p:nvSpPr>
          <p:cNvPr id="5" name="Footer Placeholder 4"/>
          <p:cNvSpPr>
            <a:spLocks noGrp="1"/>
          </p:cNvSpPr>
          <p:nvPr>
            <p:ph type="ftr" sz="quarter" idx="11"/>
          </p:nvPr>
        </p:nvSpPr>
        <p:spPr/>
        <p:txBody>
          <a:bodyPr/>
          <a:lstStyle/>
          <a:p>
            <a:endParaRPr lang="en-AU" dirty="0"/>
          </a:p>
        </p:txBody>
      </p:sp>
      <p:sp>
        <p:nvSpPr>
          <p:cNvPr id="6" name="Slide Number Placeholder 5"/>
          <p:cNvSpPr>
            <a:spLocks noGrp="1"/>
          </p:cNvSpPr>
          <p:nvPr>
            <p:ph type="sldNum" sz="quarter" idx="12"/>
          </p:nvPr>
        </p:nvSpPr>
        <p:spPr/>
        <p:txBody>
          <a:bodyPr/>
          <a:lstStyle/>
          <a:p>
            <a:fld id="{533A611A-3D9B-47B2-9421-39284F05C1C8}" type="slidenum">
              <a:rPr lang="en-AU" smtClean="0"/>
              <a:t>‹#›</a:t>
            </a:fld>
            <a:endParaRPr lang="en-AU"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40718" y="6307398"/>
            <a:ext cx="1248159" cy="476891"/>
          </a:xfrm>
          <a:prstGeom prst="rect">
            <a:avLst/>
          </a:prstGeom>
        </p:spPr>
      </p:pic>
    </p:spTree>
    <p:extLst>
      <p:ext uri="{BB962C8B-B14F-4D97-AF65-F5344CB8AC3E}">
        <p14:creationId xmlns:p14="http://schemas.microsoft.com/office/powerpoint/2010/main" val="122375767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ackground_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6518510" cy="5029200"/>
          </a:xfrm>
          <a:prstGeom prst="rect">
            <a:avLst/>
          </a:prstGeom>
        </p:spPr>
      </p:pic>
      <p:grpSp>
        <p:nvGrpSpPr>
          <p:cNvPr id="7" name="Group 6"/>
          <p:cNvGrpSpPr/>
          <p:nvPr userDrawn="1"/>
        </p:nvGrpSpPr>
        <p:grpSpPr>
          <a:xfrm>
            <a:off x="0" y="-3175"/>
            <a:ext cx="12192000" cy="6867525"/>
            <a:chOff x="0" y="-3175"/>
            <a:chExt cx="12192000" cy="6867525"/>
          </a:xfrm>
        </p:grpSpPr>
        <p:sp>
          <p:nvSpPr>
            <p:cNvPr id="8" name="AutoShape 58"/>
            <p:cNvSpPr>
              <a:spLocks noChangeAspect="1" noChangeArrowheads="1" noTextEdit="1"/>
            </p:cNvSpPr>
            <p:nvPr userDrawn="1"/>
          </p:nvSpPr>
          <p:spPr bwMode="auto">
            <a:xfrm>
              <a:off x="0" y="-3175"/>
              <a:ext cx="12192000" cy="68643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 name="Freeform 60"/>
            <p:cNvSpPr>
              <a:spLocks/>
            </p:cNvSpPr>
            <p:nvPr userDrawn="1"/>
          </p:nvSpPr>
          <p:spPr bwMode="auto">
            <a:xfrm>
              <a:off x="3175" y="0"/>
              <a:ext cx="12185650" cy="6864350"/>
            </a:xfrm>
            <a:custGeom>
              <a:avLst/>
              <a:gdLst>
                <a:gd name="T0" fmla="*/ 2620 w 7676"/>
                <a:gd name="T1" fmla="*/ 0 h 4324"/>
                <a:gd name="T2" fmla="*/ 3866 w 7676"/>
                <a:gd name="T3" fmla="*/ 2987 h 4324"/>
                <a:gd name="T4" fmla="*/ 0 w 7676"/>
                <a:gd name="T5" fmla="*/ 2068 h 4324"/>
                <a:gd name="T6" fmla="*/ 0 w 7676"/>
                <a:gd name="T7" fmla="*/ 4324 h 4324"/>
                <a:gd name="T8" fmla="*/ 7676 w 7676"/>
                <a:gd name="T9" fmla="*/ 4324 h 4324"/>
                <a:gd name="T10" fmla="*/ 7676 w 7676"/>
                <a:gd name="T11" fmla="*/ 0 h 4324"/>
                <a:gd name="T12" fmla="*/ 2620 w 7676"/>
                <a:gd name="T13" fmla="*/ 0 h 4324"/>
              </a:gdLst>
              <a:ahLst/>
              <a:cxnLst>
                <a:cxn ang="0">
                  <a:pos x="T0" y="T1"/>
                </a:cxn>
                <a:cxn ang="0">
                  <a:pos x="T2" y="T3"/>
                </a:cxn>
                <a:cxn ang="0">
                  <a:pos x="T4" y="T5"/>
                </a:cxn>
                <a:cxn ang="0">
                  <a:pos x="T6" y="T7"/>
                </a:cxn>
                <a:cxn ang="0">
                  <a:pos x="T8" y="T9"/>
                </a:cxn>
                <a:cxn ang="0">
                  <a:pos x="T10" y="T11"/>
                </a:cxn>
                <a:cxn ang="0">
                  <a:pos x="T12" y="T13"/>
                </a:cxn>
              </a:cxnLst>
              <a:rect l="0" t="0" r="r" b="b"/>
              <a:pathLst>
                <a:path w="7676" h="4324">
                  <a:moveTo>
                    <a:pt x="2620" y="0"/>
                  </a:moveTo>
                  <a:lnTo>
                    <a:pt x="3866" y="2987"/>
                  </a:lnTo>
                  <a:lnTo>
                    <a:pt x="0" y="2068"/>
                  </a:lnTo>
                  <a:lnTo>
                    <a:pt x="0" y="4324"/>
                  </a:lnTo>
                  <a:lnTo>
                    <a:pt x="7676" y="4324"/>
                  </a:lnTo>
                  <a:lnTo>
                    <a:pt x="7676" y="0"/>
                  </a:lnTo>
                  <a:lnTo>
                    <a:pt x="262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61"/>
            <p:cNvSpPr>
              <a:spLocks/>
            </p:cNvSpPr>
            <p:nvPr userDrawn="1"/>
          </p:nvSpPr>
          <p:spPr bwMode="auto">
            <a:xfrm>
              <a:off x="3144845" y="4048139"/>
              <a:ext cx="2998821" cy="1681149"/>
            </a:xfrm>
            <a:custGeom>
              <a:avLst/>
              <a:gdLst>
                <a:gd name="T0" fmla="*/ 44 w 1874"/>
                <a:gd name="T1" fmla="*/ 0 h 1071"/>
                <a:gd name="T2" fmla="*/ 1874 w 1874"/>
                <a:gd name="T3" fmla="*/ 447 h 1071"/>
                <a:gd name="T4" fmla="*/ 276 w 1874"/>
                <a:gd name="T5" fmla="*/ 1071 h 1071"/>
                <a:gd name="T6" fmla="*/ 0 w 1874"/>
                <a:gd name="T7" fmla="*/ 102 h 1071"/>
                <a:gd name="T8" fmla="*/ 44 w 1874"/>
                <a:gd name="T9" fmla="*/ 0 h 1071"/>
                <a:gd name="connsiteX0" fmla="*/ 283 w 10048"/>
                <a:gd name="connsiteY0" fmla="*/ 0 h 10000"/>
                <a:gd name="connsiteX1" fmla="*/ 10048 w 10048"/>
                <a:gd name="connsiteY1" fmla="*/ 4174 h 10000"/>
                <a:gd name="connsiteX2" fmla="*/ 1521 w 10048"/>
                <a:gd name="connsiteY2" fmla="*/ 10000 h 10000"/>
                <a:gd name="connsiteX3" fmla="*/ 0 w 10048"/>
                <a:gd name="connsiteY3" fmla="*/ 1134 h 10000"/>
                <a:gd name="connsiteX4" fmla="*/ 283 w 10048"/>
                <a:gd name="connsiteY4" fmla="*/ 0 h 10000"/>
                <a:gd name="connsiteX0" fmla="*/ 315 w 10048"/>
                <a:gd name="connsiteY0" fmla="*/ 0 h 9426"/>
                <a:gd name="connsiteX1" fmla="*/ 10048 w 10048"/>
                <a:gd name="connsiteY1" fmla="*/ 3600 h 9426"/>
                <a:gd name="connsiteX2" fmla="*/ 1521 w 10048"/>
                <a:gd name="connsiteY2" fmla="*/ 9426 h 9426"/>
                <a:gd name="connsiteX3" fmla="*/ 0 w 10048"/>
                <a:gd name="connsiteY3" fmla="*/ 560 h 9426"/>
                <a:gd name="connsiteX4" fmla="*/ 315 w 10048"/>
                <a:gd name="connsiteY4" fmla="*/ 0 h 9426"/>
                <a:gd name="connsiteX0" fmla="*/ 257 w 10000"/>
                <a:gd name="connsiteY0" fmla="*/ 0 h 10475"/>
                <a:gd name="connsiteX1" fmla="*/ 10000 w 10000"/>
                <a:gd name="connsiteY1" fmla="*/ 4294 h 10475"/>
                <a:gd name="connsiteX2" fmla="*/ 1514 w 10000"/>
                <a:gd name="connsiteY2" fmla="*/ 10475 h 10475"/>
                <a:gd name="connsiteX3" fmla="*/ 0 w 10000"/>
                <a:gd name="connsiteY3" fmla="*/ 1069 h 10475"/>
                <a:gd name="connsiteX4" fmla="*/ 257 w 10000"/>
                <a:gd name="connsiteY4" fmla="*/ 0 h 10475"/>
                <a:gd name="connsiteX0" fmla="*/ 241 w 10000"/>
                <a:gd name="connsiteY0" fmla="*/ 0 h 10490"/>
                <a:gd name="connsiteX1" fmla="*/ 10000 w 10000"/>
                <a:gd name="connsiteY1" fmla="*/ 4309 h 10490"/>
                <a:gd name="connsiteX2" fmla="*/ 1514 w 10000"/>
                <a:gd name="connsiteY2" fmla="*/ 10490 h 10490"/>
                <a:gd name="connsiteX3" fmla="*/ 0 w 10000"/>
                <a:gd name="connsiteY3" fmla="*/ 1084 h 10490"/>
                <a:gd name="connsiteX4" fmla="*/ 241 w 10000"/>
                <a:gd name="connsiteY4" fmla="*/ 0 h 10490"/>
                <a:gd name="connsiteX0" fmla="*/ 241 w 10000"/>
                <a:gd name="connsiteY0" fmla="*/ 0 h 10490"/>
                <a:gd name="connsiteX1" fmla="*/ 10000 w 10000"/>
                <a:gd name="connsiteY1" fmla="*/ 4309 h 10490"/>
                <a:gd name="connsiteX2" fmla="*/ 1514 w 10000"/>
                <a:gd name="connsiteY2" fmla="*/ 10490 h 10490"/>
                <a:gd name="connsiteX3" fmla="*/ 0 w 10000"/>
                <a:gd name="connsiteY3" fmla="*/ 1084 h 10490"/>
                <a:gd name="connsiteX4" fmla="*/ 241 w 10000"/>
                <a:gd name="connsiteY4" fmla="*/ 0 h 10490"/>
                <a:gd name="connsiteX0" fmla="*/ 241 w 10032"/>
                <a:gd name="connsiteY0" fmla="*/ 0 h 10490"/>
                <a:gd name="connsiteX1" fmla="*/ 10032 w 10032"/>
                <a:gd name="connsiteY1" fmla="*/ 4309 h 10490"/>
                <a:gd name="connsiteX2" fmla="*/ 1514 w 10032"/>
                <a:gd name="connsiteY2" fmla="*/ 10490 h 10490"/>
                <a:gd name="connsiteX3" fmla="*/ 0 w 10032"/>
                <a:gd name="connsiteY3" fmla="*/ 1084 h 10490"/>
                <a:gd name="connsiteX4" fmla="*/ 241 w 10032"/>
                <a:gd name="connsiteY4" fmla="*/ 0 h 10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2" h="10490">
                  <a:moveTo>
                    <a:pt x="241" y="0"/>
                  </a:moveTo>
                  <a:lnTo>
                    <a:pt x="10032" y="4309"/>
                  </a:lnTo>
                  <a:lnTo>
                    <a:pt x="1514" y="10490"/>
                  </a:lnTo>
                  <a:lnTo>
                    <a:pt x="0" y="1084"/>
                  </a:lnTo>
                  <a:cubicBezTo>
                    <a:pt x="94" y="683"/>
                    <a:pt x="148" y="431"/>
                    <a:pt x="241" y="0"/>
                  </a:cubicBezTo>
                  <a:close/>
                </a:path>
              </a:pathLst>
            </a:custGeom>
            <a:solidFill>
              <a:srgbClr val="C08FC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Freeform 62"/>
            <p:cNvSpPr>
              <a:spLocks/>
            </p:cNvSpPr>
            <p:nvPr userDrawn="1"/>
          </p:nvSpPr>
          <p:spPr bwMode="auto">
            <a:xfrm>
              <a:off x="2286000" y="5716588"/>
              <a:ext cx="1612900" cy="928688"/>
            </a:xfrm>
            <a:custGeom>
              <a:avLst/>
              <a:gdLst>
                <a:gd name="T0" fmla="*/ 0 w 1016"/>
                <a:gd name="T1" fmla="*/ 333 h 585"/>
                <a:gd name="T2" fmla="*/ 1016 w 1016"/>
                <a:gd name="T3" fmla="*/ 585 h 585"/>
                <a:gd name="T4" fmla="*/ 840 w 1016"/>
                <a:gd name="T5" fmla="*/ 0 h 585"/>
                <a:gd name="T6" fmla="*/ 0 w 1016"/>
                <a:gd name="T7" fmla="*/ 333 h 585"/>
              </a:gdLst>
              <a:ahLst/>
              <a:cxnLst>
                <a:cxn ang="0">
                  <a:pos x="T0" y="T1"/>
                </a:cxn>
                <a:cxn ang="0">
                  <a:pos x="T2" y="T3"/>
                </a:cxn>
                <a:cxn ang="0">
                  <a:pos x="T4" y="T5"/>
                </a:cxn>
                <a:cxn ang="0">
                  <a:pos x="T6" y="T7"/>
                </a:cxn>
              </a:cxnLst>
              <a:rect l="0" t="0" r="r" b="b"/>
              <a:pathLst>
                <a:path w="1016" h="585">
                  <a:moveTo>
                    <a:pt x="0" y="333"/>
                  </a:moveTo>
                  <a:lnTo>
                    <a:pt x="1016" y="585"/>
                  </a:lnTo>
                  <a:lnTo>
                    <a:pt x="840" y="0"/>
                  </a:lnTo>
                  <a:lnTo>
                    <a:pt x="0" y="333"/>
                  </a:lnTo>
                  <a:close/>
                </a:path>
              </a:pathLst>
            </a:custGeom>
            <a:solidFill>
              <a:srgbClr val="CFA9C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63"/>
            <p:cNvSpPr>
              <a:spLocks/>
            </p:cNvSpPr>
            <p:nvPr userDrawn="1"/>
          </p:nvSpPr>
          <p:spPr bwMode="auto">
            <a:xfrm>
              <a:off x="2286000" y="4191000"/>
              <a:ext cx="1333500" cy="2054225"/>
            </a:xfrm>
            <a:custGeom>
              <a:avLst/>
              <a:gdLst>
                <a:gd name="T0" fmla="*/ 550 w 840"/>
                <a:gd name="T1" fmla="*/ 0 h 1294"/>
                <a:gd name="T2" fmla="*/ 0 w 840"/>
                <a:gd name="T3" fmla="*/ 1294 h 1294"/>
                <a:gd name="T4" fmla="*/ 840 w 840"/>
                <a:gd name="T5" fmla="*/ 965 h 1294"/>
                <a:gd name="T6" fmla="*/ 550 w 840"/>
                <a:gd name="T7" fmla="*/ 0 h 1294"/>
              </a:gdLst>
              <a:ahLst/>
              <a:cxnLst>
                <a:cxn ang="0">
                  <a:pos x="T0" y="T1"/>
                </a:cxn>
                <a:cxn ang="0">
                  <a:pos x="T2" y="T3"/>
                </a:cxn>
                <a:cxn ang="0">
                  <a:pos x="T4" y="T5"/>
                </a:cxn>
                <a:cxn ang="0">
                  <a:pos x="T6" y="T7"/>
                </a:cxn>
              </a:cxnLst>
              <a:rect l="0" t="0" r="r" b="b"/>
              <a:pathLst>
                <a:path w="840" h="1294">
                  <a:moveTo>
                    <a:pt x="550" y="0"/>
                  </a:moveTo>
                  <a:lnTo>
                    <a:pt x="0" y="1294"/>
                  </a:lnTo>
                  <a:lnTo>
                    <a:pt x="840" y="965"/>
                  </a:lnTo>
                  <a:lnTo>
                    <a:pt x="550" y="0"/>
                  </a:lnTo>
                  <a:close/>
                </a:path>
              </a:pathLst>
            </a:custGeom>
            <a:solidFill>
              <a:srgbClr val="B881B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8" name="Title 1"/>
          <p:cNvSpPr>
            <a:spLocks noGrp="1"/>
          </p:cNvSpPr>
          <p:nvPr>
            <p:ph type="ctrTitle" hasCustomPrompt="1"/>
          </p:nvPr>
        </p:nvSpPr>
        <p:spPr>
          <a:xfrm>
            <a:off x="5731226" y="2322535"/>
            <a:ext cx="5768774" cy="879910"/>
          </a:xfrm>
          <a:prstGeom prst="rect">
            <a:avLst/>
          </a:prstGeom>
        </p:spPr>
        <p:txBody>
          <a:bodyPr>
            <a:noAutofit/>
          </a:bodyPr>
          <a:lstStyle>
            <a:lvl1pPr>
              <a:defRPr sz="5000" baseline="0">
                <a:solidFill>
                  <a:schemeClr val="tx1"/>
                </a:solidFill>
              </a:defRPr>
            </a:lvl1pPr>
          </a:lstStyle>
          <a:p>
            <a:r>
              <a:rPr lang="en-US" dirty="0"/>
              <a:t>Headline here,  </a:t>
            </a:r>
            <a:br>
              <a:rPr lang="en-US" dirty="0"/>
            </a:br>
            <a:r>
              <a:rPr lang="en-US" dirty="0"/>
              <a:t> second line here</a:t>
            </a:r>
          </a:p>
        </p:txBody>
      </p:sp>
      <p:sp>
        <p:nvSpPr>
          <p:cNvPr id="21" name="Text Placeholder 7"/>
          <p:cNvSpPr>
            <a:spLocks noGrp="1"/>
          </p:cNvSpPr>
          <p:nvPr>
            <p:ph type="body" sz="quarter" idx="10" hasCustomPrompt="1"/>
          </p:nvPr>
        </p:nvSpPr>
        <p:spPr>
          <a:xfrm>
            <a:off x="6182012" y="3891200"/>
            <a:ext cx="5783797" cy="863866"/>
          </a:xfrm>
          <a:prstGeom prst="rect">
            <a:avLst/>
          </a:prstGeom>
        </p:spPr>
        <p:txBody>
          <a:bodyPr>
            <a:normAutofit/>
          </a:bodyPr>
          <a:lstStyle>
            <a:lvl1pPr marL="0" indent="0">
              <a:buNone/>
              <a:defRPr sz="2800" baseline="0">
                <a:solidFill>
                  <a:schemeClr val="tx1"/>
                </a:solidFill>
                <a:latin typeface="+mj-lt"/>
              </a:defRPr>
            </a:lvl1pPr>
            <a:lvl2pPr marL="336080" indent="0">
              <a:buNone/>
              <a:defRPr sz="1567">
                <a:solidFill>
                  <a:schemeClr val="bg1"/>
                </a:solidFill>
                <a:latin typeface="+mj-lt"/>
              </a:defRPr>
            </a:lvl2pPr>
            <a:lvl3pPr marL="560134" indent="0">
              <a:buNone/>
              <a:defRPr sz="1371">
                <a:solidFill>
                  <a:schemeClr val="bg1"/>
                </a:solidFill>
                <a:latin typeface="+mj-lt"/>
              </a:defRPr>
            </a:lvl3pPr>
            <a:lvl4pPr marL="784187" indent="0">
              <a:buNone/>
              <a:defRPr sz="1175">
                <a:solidFill>
                  <a:schemeClr val="bg1"/>
                </a:solidFill>
                <a:latin typeface="+mj-lt"/>
              </a:defRPr>
            </a:lvl4pPr>
            <a:lvl5pPr marL="1008241" indent="0">
              <a:buNone/>
              <a:defRPr sz="1175">
                <a:solidFill>
                  <a:schemeClr val="bg1"/>
                </a:solidFill>
                <a:latin typeface="+mj-lt"/>
              </a:defRPr>
            </a:lvl5pPr>
          </a:lstStyle>
          <a:p>
            <a:pPr lvl="0"/>
            <a:r>
              <a:rPr lang="en-US" dirty="0"/>
              <a:t>Sub header here</a:t>
            </a:r>
          </a:p>
        </p:txBody>
      </p:sp>
      <p:sp>
        <p:nvSpPr>
          <p:cNvPr id="17" name="Freeform 7"/>
          <p:cNvSpPr>
            <a:spLocks noEditPoints="1"/>
          </p:cNvSpPr>
          <p:nvPr userDrawn="1"/>
        </p:nvSpPr>
        <p:spPr bwMode="auto">
          <a:xfrm>
            <a:off x="10277475" y="6333878"/>
            <a:ext cx="1491240" cy="208935"/>
          </a:xfrm>
          <a:custGeom>
            <a:avLst/>
            <a:gdLst>
              <a:gd name="T0" fmla="*/ 657 w 703"/>
              <a:gd name="T1" fmla="*/ 40 h 98"/>
              <a:gd name="T2" fmla="*/ 615 w 703"/>
              <a:gd name="T3" fmla="*/ 28 h 98"/>
              <a:gd name="T4" fmla="*/ 615 w 703"/>
              <a:gd name="T5" fmla="*/ 97 h 98"/>
              <a:gd name="T6" fmla="*/ 652 w 703"/>
              <a:gd name="T7" fmla="*/ 52 h 98"/>
              <a:gd name="T8" fmla="*/ 659 w 703"/>
              <a:gd name="T9" fmla="*/ 55 h 98"/>
              <a:gd name="T10" fmla="*/ 697 w 703"/>
              <a:gd name="T11" fmla="*/ 97 h 98"/>
              <a:gd name="T12" fmla="*/ 522 w 703"/>
              <a:gd name="T13" fmla="*/ 62 h 98"/>
              <a:gd name="T14" fmla="*/ 558 w 703"/>
              <a:gd name="T15" fmla="*/ 26 h 98"/>
              <a:gd name="T16" fmla="*/ 558 w 703"/>
              <a:gd name="T17" fmla="*/ 32 h 98"/>
              <a:gd name="T18" fmla="*/ 529 w 703"/>
              <a:gd name="T19" fmla="*/ 62 h 98"/>
              <a:gd name="T20" fmla="*/ 453 w 703"/>
              <a:gd name="T21" fmla="*/ 62 h 98"/>
              <a:gd name="T22" fmla="*/ 510 w 703"/>
              <a:gd name="T23" fmla="*/ 81 h 98"/>
              <a:gd name="T24" fmla="*/ 487 w 703"/>
              <a:gd name="T25" fmla="*/ 32 h 98"/>
              <a:gd name="T26" fmla="*/ 429 w 703"/>
              <a:gd name="T27" fmla="*/ 93 h 98"/>
              <a:gd name="T28" fmla="*/ 434 w 703"/>
              <a:gd name="T29" fmla="*/ 87 h 98"/>
              <a:gd name="T30" fmla="*/ 386 w 703"/>
              <a:gd name="T31" fmla="*/ 59 h 98"/>
              <a:gd name="T32" fmla="*/ 367 w 703"/>
              <a:gd name="T33" fmla="*/ 75 h 98"/>
              <a:gd name="T34" fmla="*/ 406 w 703"/>
              <a:gd name="T35" fmla="*/ 90 h 98"/>
              <a:gd name="T36" fmla="*/ 413 w 703"/>
              <a:gd name="T37" fmla="*/ 50 h 98"/>
              <a:gd name="T38" fmla="*/ 366 w 703"/>
              <a:gd name="T39" fmla="*/ 38 h 98"/>
              <a:gd name="T40" fmla="*/ 406 w 703"/>
              <a:gd name="T41" fmla="*/ 60 h 98"/>
              <a:gd name="T42" fmla="*/ 338 w 703"/>
              <a:gd name="T43" fmla="*/ 62 h 98"/>
              <a:gd name="T44" fmla="*/ 312 w 703"/>
              <a:gd name="T45" fmla="*/ 32 h 98"/>
              <a:gd name="T46" fmla="*/ 338 w 703"/>
              <a:gd name="T47" fmla="*/ 0 h 98"/>
              <a:gd name="T48" fmla="*/ 279 w 703"/>
              <a:gd name="T49" fmla="*/ 62 h 98"/>
              <a:gd name="T50" fmla="*/ 338 w 703"/>
              <a:gd name="T51" fmla="*/ 97 h 98"/>
              <a:gd name="T52" fmla="*/ 219 w 703"/>
              <a:gd name="T53" fmla="*/ 75 h 98"/>
              <a:gd name="T54" fmla="*/ 239 w 703"/>
              <a:gd name="T55" fmla="*/ 92 h 98"/>
              <a:gd name="T56" fmla="*/ 239 w 703"/>
              <a:gd name="T57" fmla="*/ 98 h 98"/>
              <a:gd name="T58" fmla="*/ 265 w 703"/>
              <a:gd name="T59" fmla="*/ 97 h 98"/>
              <a:gd name="T60" fmla="*/ 215 w 703"/>
              <a:gd name="T61" fmla="*/ 33 h 98"/>
              <a:gd name="T62" fmla="*/ 258 w 703"/>
              <a:gd name="T63" fmla="*/ 50 h 98"/>
              <a:gd name="T64" fmla="*/ 212 w 703"/>
              <a:gd name="T65" fmla="*/ 75 h 98"/>
              <a:gd name="T66" fmla="*/ 182 w 703"/>
              <a:gd name="T67" fmla="*/ 28 h 98"/>
              <a:gd name="T68" fmla="*/ 182 w 703"/>
              <a:gd name="T69" fmla="*/ 97 h 98"/>
              <a:gd name="T70" fmla="*/ 203 w 703"/>
              <a:gd name="T71" fmla="*/ 26 h 98"/>
              <a:gd name="T72" fmla="*/ 155 w 703"/>
              <a:gd name="T73" fmla="*/ 0 h 98"/>
              <a:gd name="T74" fmla="*/ 75 w 703"/>
              <a:gd name="T75" fmla="*/ 57 h 98"/>
              <a:gd name="T76" fmla="*/ 75 w 703"/>
              <a:gd name="T77" fmla="*/ 57 h 98"/>
              <a:gd name="T78" fmla="*/ 131 w 703"/>
              <a:gd name="T79" fmla="*/ 83 h 98"/>
              <a:gd name="T80" fmla="*/ 75 w 703"/>
              <a:gd name="T81" fmla="*/ 63 h 98"/>
              <a:gd name="T82" fmla="*/ 101 w 703"/>
              <a:gd name="T83" fmla="*/ 26 h 98"/>
              <a:gd name="T84" fmla="*/ 62 w 703"/>
              <a:gd name="T85" fmla="*/ 28 h 98"/>
              <a:gd name="T86" fmla="*/ 7 w 703"/>
              <a:gd name="T87" fmla="*/ 28 h 98"/>
              <a:gd name="T88" fmla="*/ 34 w 703"/>
              <a:gd name="T89" fmla="*/ 9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03" h="98">
                <a:moveTo>
                  <a:pt x="703" y="52"/>
                </a:moveTo>
                <a:cubicBezTo>
                  <a:pt x="703" y="37"/>
                  <a:pt x="695" y="26"/>
                  <a:pt x="680" y="26"/>
                </a:cubicBezTo>
                <a:cubicBezTo>
                  <a:pt x="670" y="26"/>
                  <a:pt x="661" y="31"/>
                  <a:pt x="657" y="40"/>
                </a:cubicBezTo>
                <a:cubicBezTo>
                  <a:pt x="654" y="31"/>
                  <a:pt x="646" y="26"/>
                  <a:pt x="635" y="26"/>
                </a:cubicBezTo>
                <a:cubicBezTo>
                  <a:pt x="625" y="26"/>
                  <a:pt x="617" y="32"/>
                  <a:pt x="615" y="39"/>
                </a:cubicBezTo>
                <a:cubicBezTo>
                  <a:pt x="615" y="28"/>
                  <a:pt x="615" y="28"/>
                  <a:pt x="615" y="28"/>
                </a:cubicBezTo>
                <a:cubicBezTo>
                  <a:pt x="608" y="28"/>
                  <a:pt x="608" y="28"/>
                  <a:pt x="608" y="28"/>
                </a:cubicBezTo>
                <a:cubicBezTo>
                  <a:pt x="608" y="97"/>
                  <a:pt x="608" y="97"/>
                  <a:pt x="608" y="97"/>
                </a:cubicBezTo>
                <a:cubicBezTo>
                  <a:pt x="615" y="97"/>
                  <a:pt x="615" y="97"/>
                  <a:pt x="615" y="97"/>
                </a:cubicBezTo>
                <a:cubicBezTo>
                  <a:pt x="615" y="55"/>
                  <a:pt x="615" y="55"/>
                  <a:pt x="615" y="55"/>
                </a:cubicBezTo>
                <a:cubicBezTo>
                  <a:pt x="615" y="41"/>
                  <a:pt x="624" y="32"/>
                  <a:pt x="634" y="32"/>
                </a:cubicBezTo>
                <a:cubicBezTo>
                  <a:pt x="645" y="32"/>
                  <a:pt x="652" y="40"/>
                  <a:pt x="652" y="52"/>
                </a:cubicBezTo>
                <a:cubicBezTo>
                  <a:pt x="652" y="97"/>
                  <a:pt x="652" y="97"/>
                  <a:pt x="652" y="97"/>
                </a:cubicBezTo>
                <a:cubicBezTo>
                  <a:pt x="659" y="97"/>
                  <a:pt x="659" y="97"/>
                  <a:pt x="659" y="97"/>
                </a:cubicBezTo>
                <a:cubicBezTo>
                  <a:pt x="659" y="55"/>
                  <a:pt x="659" y="55"/>
                  <a:pt x="659" y="55"/>
                </a:cubicBezTo>
                <a:cubicBezTo>
                  <a:pt x="659" y="40"/>
                  <a:pt x="668" y="32"/>
                  <a:pt x="679" y="32"/>
                </a:cubicBezTo>
                <a:cubicBezTo>
                  <a:pt x="691" y="32"/>
                  <a:pt x="697" y="40"/>
                  <a:pt x="697" y="55"/>
                </a:cubicBezTo>
                <a:cubicBezTo>
                  <a:pt x="697" y="97"/>
                  <a:pt x="697" y="97"/>
                  <a:pt x="697" y="97"/>
                </a:cubicBezTo>
                <a:cubicBezTo>
                  <a:pt x="703" y="97"/>
                  <a:pt x="703" y="97"/>
                  <a:pt x="703" y="97"/>
                </a:cubicBezTo>
                <a:lnTo>
                  <a:pt x="703" y="52"/>
                </a:lnTo>
                <a:close/>
                <a:moveTo>
                  <a:pt x="522" y="62"/>
                </a:moveTo>
                <a:cubicBezTo>
                  <a:pt x="522" y="83"/>
                  <a:pt x="537" y="98"/>
                  <a:pt x="558" y="98"/>
                </a:cubicBezTo>
                <a:cubicBezTo>
                  <a:pt x="578" y="98"/>
                  <a:pt x="593" y="83"/>
                  <a:pt x="593" y="62"/>
                </a:cubicBezTo>
                <a:cubicBezTo>
                  <a:pt x="593" y="42"/>
                  <a:pt x="578" y="26"/>
                  <a:pt x="558" y="26"/>
                </a:cubicBezTo>
                <a:cubicBezTo>
                  <a:pt x="537" y="26"/>
                  <a:pt x="522" y="41"/>
                  <a:pt x="522" y="62"/>
                </a:cubicBezTo>
                <a:moveTo>
                  <a:pt x="529" y="62"/>
                </a:moveTo>
                <a:cubicBezTo>
                  <a:pt x="529" y="45"/>
                  <a:pt x="541" y="32"/>
                  <a:pt x="558" y="32"/>
                </a:cubicBezTo>
                <a:cubicBezTo>
                  <a:pt x="574" y="32"/>
                  <a:pt x="586" y="45"/>
                  <a:pt x="586" y="62"/>
                </a:cubicBezTo>
                <a:cubicBezTo>
                  <a:pt x="586" y="79"/>
                  <a:pt x="574" y="92"/>
                  <a:pt x="558" y="92"/>
                </a:cubicBezTo>
                <a:cubicBezTo>
                  <a:pt x="541" y="92"/>
                  <a:pt x="529" y="79"/>
                  <a:pt x="529" y="62"/>
                </a:cubicBezTo>
                <a:moveTo>
                  <a:pt x="512" y="36"/>
                </a:moveTo>
                <a:cubicBezTo>
                  <a:pt x="509" y="33"/>
                  <a:pt x="501" y="26"/>
                  <a:pt x="487" y="26"/>
                </a:cubicBezTo>
                <a:cubicBezTo>
                  <a:pt x="467" y="26"/>
                  <a:pt x="453" y="42"/>
                  <a:pt x="453" y="62"/>
                </a:cubicBezTo>
                <a:cubicBezTo>
                  <a:pt x="453" y="82"/>
                  <a:pt x="467" y="98"/>
                  <a:pt x="487" y="98"/>
                </a:cubicBezTo>
                <a:cubicBezTo>
                  <a:pt x="501" y="98"/>
                  <a:pt x="510" y="90"/>
                  <a:pt x="513" y="87"/>
                </a:cubicBezTo>
                <a:cubicBezTo>
                  <a:pt x="510" y="81"/>
                  <a:pt x="510" y="81"/>
                  <a:pt x="510" y="81"/>
                </a:cubicBezTo>
                <a:cubicBezTo>
                  <a:pt x="508" y="84"/>
                  <a:pt x="500" y="92"/>
                  <a:pt x="487" y="92"/>
                </a:cubicBezTo>
                <a:cubicBezTo>
                  <a:pt x="472" y="92"/>
                  <a:pt x="460" y="79"/>
                  <a:pt x="460" y="62"/>
                </a:cubicBezTo>
                <a:cubicBezTo>
                  <a:pt x="460" y="45"/>
                  <a:pt x="471" y="32"/>
                  <a:pt x="487" y="32"/>
                </a:cubicBezTo>
                <a:cubicBezTo>
                  <a:pt x="499" y="32"/>
                  <a:pt x="507" y="39"/>
                  <a:pt x="510" y="42"/>
                </a:cubicBezTo>
                <a:lnTo>
                  <a:pt x="512" y="36"/>
                </a:lnTo>
                <a:close/>
                <a:moveTo>
                  <a:pt x="429" y="93"/>
                </a:moveTo>
                <a:cubicBezTo>
                  <a:pt x="429" y="96"/>
                  <a:pt x="431" y="98"/>
                  <a:pt x="434" y="98"/>
                </a:cubicBezTo>
                <a:cubicBezTo>
                  <a:pt x="437" y="98"/>
                  <a:pt x="440" y="96"/>
                  <a:pt x="440" y="93"/>
                </a:cubicBezTo>
                <a:cubicBezTo>
                  <a:pt x="440" y="90"/>
                  <a:pt x="437" y="87"/>
                  <a:pt x="434" y="87"/>
                </a:cubicBezTo>
                <a:cubicBezTo>
                  <a:pt x="431" y="87"/>
                  <a:pt x="429" y="90"/>
                  <a:pt x="429" y="93"/>
                </a:cubicBezTo>
                <a:moveTo>
                  <a:pt x="367" y="75"/>
                </a:moveTo>
                <a:cubicBezTo>
                  <a:pt x="367" y="66"/>
                  <a:pt x="374" y="59"/>
                  <a:pt x="386" y="59"/>
                </a:cubicBezTo>
                <a:cubicBezTo>
                  <a:pt x="399" y="59"/>
                  <a:pt x="406" y="66"/>
                  <a:pt x="406" y="75"/>
                </a:cubicBezTo>
                <a:cubicBezTo>
                  <a:pt x="406" y="85"/>
                  <a:pt x="398" y="92"/>
                  <a:pt x="387" y="92"/>
                </a:cubicBezTo>
                <a:cubicBezTo>
                  <a:pt x="374" y="92"/>
                  <a:pt x="367" y="85"/>
                  <a:pt x="367" y="75"/>
                </a:cubicBezTo>
                <a:moveTo>
                  <a:pt x="360" y="75"/>
                </a:moveTo>
                <a:cubicBezTo>
                  <a:pt x="360" y="88"/>
                  <a:pt x="370" y="98"/>
                  <a:pt x="386" y="98"/>
                </a:cubicBezTo>
                <a:cubicBezTo>
                  <a:pt x="396" y="98"/>
                  <a:pt x="402" y="94"/>
                  <a:pt x="406" y="90"/>
                </a:cubicBezTo>
                <a:cubicBezTo>
                  <a:pt x="407" y="97"/>
                  <a:pt x="407" y="97"/>
                  <a:pt x="407" y="97"/>
                </a:cubicBezTo>
                <a:cubicBezTo>
                  <a:pt x="413" y="97"/>
                  <a:pt x="413" y="97"/>
                  <a:pt x="413" y="97"/>
                </a:cubicBezTo>
                <a:cubicBezTo>
                  <a:pt x="413" y="50"/>
                  <a:pt x="413" y="50"/>
                  <a:pt x="413" y="50"/>
                </a:cubicBezTo>
                <a:cubicBezTo>
                  <a:pt x="413" y="36"/>
                  <a:pt x="405" y="26"/>
                  <a:pt x="388" y="26"/>
                </a:cubicBezTo>
                <a:cubicBezTo>
                  <a:pt x="376" y="26"/>
                  <a:pt x="367" y="31"/>
                  <a:pt x="363" y="33"/>
                </a:cubicBezTo>
                <a:cubicBezTo>
                  <a:pt x="366" y="38"/>
                  <a:pt x="366" y="38"/>
                  <a:pt x="366" y="38"/>
                </a:cubicBezTo>
                <a:cubicBezTo>
                  <a:pt x="371" y="35"/>
                  <a:pt x="378" y="32"/>
                  <a:pt x="387" y="32"/>
                </a:cubicBezTo>
                <a:cubicBezTo>
                  <a:pt x="398" y="32"/>
                  <a:pt x="406" y="38"/>
                  <a:pt x="406" y="50"/>
                </a:cubicBezTo>
                <a:cubicBezTo>
                  <a:pt x="406" y="60"/>
                  <a:pt x="406" y="60"/>
                  <a:pt x="406" y="60"/>
                </a:cubicBezTo>
                <a:cubicBezTo>
                  <a:pt x="403" y="57"/>
                  <a:pt x="396" y="53"/>
                  <a:pt x="386" y="53"/>
                </a:cubicBezTo>
                <a:cubicBezTo>
                  <a:pt x="371" y="53"/>
                  <a:pt x="360" y="62"/>
                  <a:pt x="360" y="75"/>
                </a:cubicBezTo>
                <a:moveTo>
                  <a:pt x="338" y="62"/>
                </a:moveTo>
                <a:cubicBezTo>
                  <a:pt x="338" y="79"/>
                  <a:pt x="328" y="92"/>
                  <a:pt x="312" y="92"/>
                </a:cubicBezTo>
                <a:cubicBezTo>
                  <a:pt x="297" y="92"/>
                  <a:pt x="286" y="80"/>
                  <a:pt x="286" y="62"/>
                </a:cubicBezTo>
                <a:cubicBezTo>
                  <a:pt x="286" y="45"/>
                  <a:pt x="297" y="32"/>
                  <a:pt x="312" y="32"/>
                </a:cubicBezTo>
                <a:cubicBezTo>
                  <a:pt x="326" y="32"/>
                  <a:pt x="338" y="43"/>
                  <a:pt x="338" y="62"/>
                </a:cubicBezTo>
                <a:moveTo>
                  <a:pt x="345" y="0"/>
                </a:moveTo>
                <a:cubicBezTo>
                  <a:pt x="338" y="0"/>
                  <a:pt x="338" y="0"/>
                  <a:pt x="338" y="0"/>
                </a:cubicBezTo>
                <a:cubicBezTo>
                  <a:pt x="338" y="41"/>
                  <a:pt x="338" y="41"/>
                  <a:pt x="338" y="41"/>
                </a:cubicBezTo>
                <a:cubicBezTo>
                  <a:pt x="336" y="37"/>
                  <a:pt x="327" y="26"/>
                  <a:pt x="312" y="26"/>
                </a:cubicBezTo>
                <a:cubicBezTo>
                  <a:pt x="292" y="26"/>
                  <a:pt x="279" y="41"/>
                  <a:pt x="279" y="62"/>
                </a:cubicBezTo>
                <a:cubicBezTo>
                  <a:pt x="279" y="83"/>
                  <a:pt x="293" y="98"/>
                  <a:pt x="312" y="98"/>
                </a:cubicBezTo>
                <a:cubicBezTo>
                  <a:pt x="329" y="98"/>
                  <a:pt x="336" y="87"/>
                  <a:pt x="338" y="84"/>
                </a:cubicBezTo>
                <a:cubicBezTo>
                  <a:pt x="338" y="97"/>
                  <a:pt x="338" y="97"/>
                  <a:pt x="338" y="97"/>
                </a:cubicBezTo>
                <a:cubicBezTo>
                  <a:pt x="345" y="97"/>
                  <a:pt x="345" y="97"/>
                  <a:pt x="345" y="97"/>
                </a:cubicBezTo>
                <a:lnTo>
                  <a:pt x="345" y="0"/>
                </a:lnTo>
                <a:close/>
                <a:moveTo>
                  <a:pt x="219" y="75"/>
                </a:moveTo>
                <a:cubicBezTo>
                  <a:pt x="219" y="66"/>
                  <a:pt x="227" y="59"/>
                  <a:pt x="239" y="59"/>
                </a:cubicBezTo>
                <a:cubicBezTo>
                  <a:pt x="251" y="59"/>
                  <a:pt x="259" y="66"/>
                  <a:pt x="259" y="75"/>
                </a:cubicBezTo>
                <a:cubicBezTo>
                  <a:pt x="259" y="85"/>
                  <a:pt x="251" y="92"/>
                  <a:pt x="239" y="92"/>
                </a:cubicBezTo>
                <a:cubicBezTo>
                  <a:pt x="227" y="92"/>
                  <a:pt x="219" y="85"/>
                  <a:pt x="219" y="75"/>
                </a:cubicBezTo>
                <a:moveTo>
                  <a:pt x="212" y="75"/>
                </a:moveTo>
                <a:cubicBezTo>
                  <a:pt x="212" y="88"/>
                  <a:pt x="223" y="98"/>
                  <a:pt x="239" y="98"/>
                </a:cubicBezTo>
                <a:cubicBezTo>
                  <a:pt x="249" y="98"/>
                  <a:pt x="255" y="94"/>
                  <a:pt x="258" y="90"/>
                </a:cubicBezTo>
                <a:cubicBezTo>
                  <a:pt x="260" y="97"/>
                  <a:pt x="260" y="97"/>
                  <a:pt x="260" y="97"/>
                </a:cubicBezTo>
                <a:cubicBezTo>
                  <a:pt x="265" y="97"/>
                  <a:pt x="265" y="97"/>
                  <a:pt x="265" y="97"/>
                </a:cubicBezTo>
                <a:cubicBezTo>
                  <a:pt x="265" y="50"/>
                  <a:pt x="265" y="50"/>
                  <a:pt x="265" y="50"/>
                </a:cubicBezTo>
                <a:cubicBezTo>
                  <a:pt x="265" y="36"/>
                  <a:pt x="257" y="26"/>
                  <a:pt x="240" y="26"/>
                </a:cubicBezTo>
                <a:cubicBezTo>
                  <a:pt x="228" y="26"/>
                  <a:pt x="219" y="31"/>
                  <a:pt x="215" y="33"/>
                </a:cubicBezTo>
                <a:cubicBezTo>
                  <a:pt x="218" y="38"/>
                  <a:pt x="218" y="38"/>
                  <a:pt x="218" y="38"/>
                </a:cubicBezTo>
                <a:cubicBezTo>
                  <a:pt x="223" y="35"/>
                  <a:pt x="230" y="32"/>
                  <a:pt x="240" y="32"/>
                </a:cubicBezTo>
                <a:cubicBezTo>
                  <a:pt x="251" y="32"/>
                  <a:pt x="258" y="38"/>
                  <a:pt x="258" y="50"/>
                </a:cubicBezTo>
                <a:cubicBezTo>
                  <a:pt x="258" y="60"/>
                  <a:pt x="258" y="60"/>
                  <a:pt x="258" y="60"/>
                </a:cubicBezTo>
                <a:cubicBezTo>
                  <a:pt x="255" y="57"/>
                  <a:pt x="248" y="53"/>
                  <a:pt x="239" y="53"/>
                </a:cubicBezTo>
                <a:cubicBezTo>
                  <a:pt x="223" y="53"/>
                  <a:pt x="212" y="62"/>
                  <a:pt x="212" y="75"/>
                </a:cubicBezTo>
                <a:moveTo>
                  <a:pt x="203" y="26"/>
                </a:moveTo>
                <a:cubicBezTo>
                  <a:pt x="192" y="26"/>
                  <a:pt x="184" y="33"/>
                  <a:pt x="182" y="40"/>
                </a:cubicBezTo>
                <a:cubicBezTo>
                  <a:pt x="182" y="28"/>
                  <a:pt x="182" y="28"/>
                  <a:pt x="182" y="28"/>
                </a:cubicBezTo>
                <a:cubicBezTo>
                  <a:pt x="175" y="28"/>
                  <a:pt x="175" y="28"/>
                  <a:pt x="175" y="28"/>
                </a:cubicBezTo>
                <a:cubicBezTo>
                  <a:pt x="175" y="97"/>
                  <a:pt x="175" y="97"/>
                  <a:pt x="175" y="97"/>
                </a:cubicBezTo>
                <a:cubicBezTo>
                  <a:pt x="182" y="97"/>
                  <a:pt x="182" y="97"/>
                  <a:pt x="182" y="97"/>
                </a:cubicBezTo>
                <a:cubicBezTo>
                  <a:pt x="182" y="60"/>
                  <a:pt x="182" y="60"/>
                  <a:pt x="182" y="60"/>
                </a:cubicBezTo>
                <a:cubicBezTo>
                  <a:pt x="182" y="46"/>
                  <a:pt x="186" y="32"/>
                  <a:pt x="203" y="32"/>
                </a:cubicBezTo>
                <a:lnTo>
                  <a:pt x="203" y="26"/>
                </a:lnTo>
                <a:close/>
                <a:moveTo>
                  <a:pt x="148" y="97"/>
                </a:moveTo>
                <a:cubicBezTo>
                  <a:pt x="155" y="97"/>
                  <a:pt x="155" y="97"/>
                  <a:pt x="155" y="97"/>
                </a:cubicBezTo>
                <a:cubicBezTo>
                  <a:pt x="155" y="0"/>
                  <a:pt x="155" y="0"/>
                  <a:pt x="155" y="0"/>
                </a:cubicBezTo>
                <a:cubicBezTo>
                  <a:pt x="148" y="0"/>
                  <a:pt x="148" y="0"/>
                  <a:pt x="148" y="0"/>
                </a:cubicBezTo>
                <a:lnTo>
                  <a:pt x="148" y="97"/>
                </a:lnTo>
                <a:close/>
                <a:moveTo>
                  <a:pt x="75" y="57"/>
                </a:moveTo>
                <a:cubicBezTo>
                  <a:pt x="77" y="41"/>
                  <a:pt x="89" y="32"/>
                  <a:pt x="101" y="32"/>
                </a:cubicBezTo>
                <a:cubicBezTo>
                  <a:pt x="114" y="32"/>
                  <a:pt x="126" y="40"/>
                  <a:pt x="127" y="57"/>
                </a:cubicBezTo>
                <a:lnTo>
                  <a:pt x="75" y="57"/>
                </a:lnTo>
                <a:close/>
                <a:moveTo>
                  <a:pt x="68" y="62"/>
                </a:moveTo>
                <a:cubicBezTo>
                  <a:pt x="68" y="84"/>
                  <a:pt x="83" y="98"/>
                  <a:pt x="103" y="98"/>
                </a:cubicBezTo>
                <a:cubicBezTo>
                  <a:pt x="118" y="98"/>
                  <a:pt x="127" y="91"/>
                  <a:pt x="131" y="83"/>
                </a:cubicBezTo>
                <a:cubicBezTo>
                  <a:pt x="127" y="80"/>
                  <a:pt x="127" y="80"/>
                  <a:pt x="127" y="80"/>
                </a:cubicBezTo>
                <a:cubicBezTo>
                  <a:pt x="123" y="86"/>
                  <a:pt x="116" y="92"/>
                  <a:pt x="103" y="92"/>
                </a:cubicBezTo>
                <a:cubicBezTo>
                  <a:pt x="87" y="92"/>
                  <a:pt x="75" y="82"/>
                  <a:pt x="75" y="63"/>
                </a:cubicBezTo>
                <a:cubicBezTo>
                  <a:pt x="134" y="63"/>
                  <a:pt x="134" y="63"/>
                  <a:pt x="134" y="63"/>
                </a:cubicBezTo>
                <a:cubicBezTo>
                  <a:pt x="134" y="60"/>
                  <a:pt x="134" y="60"/>
                  <a:pt x="134" y="60"/>
                </a:cubicBezTo>
                <a:cubicBezTo>
                  <a:pt x="134" y="41"/>
                  <a:pt x="121" y="26"/>
                  <a:pt x="101" y="26"/>
                </a:cubicBezTo>
                <a:cubicBezTo>
                  <a:pt x="84" y="26"/>
                  <a:pt x="68" y="40"/>
                  <a:pt x="68" y="62"/>
                </a:cubicBezTo>
                <a:moveTo>
                  <a:pt x="34" y="97"/>
                </a:moveTo>
                <a:cubicBezTo>
                  <a:pt x="62" y="28"/>
                  <a:pt x="62" y="28"/>
                  <a:pt x="62" y="28"/>
                </a:cubicBezTo>
                <a:cubicBezTo>
                  <a:pt x="55" y="28"/>
                  <a:pt x="55" y="28"/>
                  <a:pt x="55" y="28"/>
                </a:cubicBezTo>
                <a:cubicBezTo>
                  <a:pt x="31" y="89"/>
                  <a:pt x="31" y="89"/>
                  <a:pt x="31" y="89"/>
                </a:cubicBezTo>
                <a:cubicBezTo>
                  <a:pt x="7" y="28"/>
                  <a:pt x="7" y="28"/>
                  <a:pt x="7" y="28"/>
                </a:cubicBezTo>
                <a:cubicBezTo>
                  <a:pt x="0" y="28"/>
                  <a:pt x="0" y="28"/>
                  <a:pt x="0" y="28"/>
                </a:cubicBezTo>
                <a:cubicBezTo>
                  <a:pt x="27" y="97"/>
                  <a:pt x="27" y="97"/>
                  <a:pt x="27" y="97"/>
                </a:cubicBezTo>
                <a:lnTo>
                  <a:pt x="34" y="97"/>
                </a:lnTo>
                <a:close/>
              </a:path>
            </a:pathLst>
          </a:custGeom>
          <a:solidFill>
            <a:schemeClr val="tx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82041255"/>
      </p:ext>
    </p:extLst>
  </p:cSld>
  <p:clrMapOvr>
    <a:masterClrMapping/>
  </p:clrMapOvr>
  <p:transition spd="slow">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_&amp;_Subtitle_&amp;_pic">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4"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40718" y="6307398"/>
            <a:ext cx="1248159" cy="476891"/>
          </a:xfrm>
          <a:prstGeom prst="rect">
            <a:avLst/>
          </a:prstGeom>
        </p:spPr>
      </p:pic>
    </p:spTree>
    <p:extLst>
      <p:ext uri="{BB962C8B-B14F-4D97-AF65-F5344CB8AC3E}">
        <p14:creationId xmlns:p14="http://schemas.microsoft.com/office/powerpoint/2010/main" val="847504993"/>
      </p:ext>
    </p:extLst>
  </p:cSld>
  <p:clrMapOvr>
    <a:masterClrMapping/>
  </p:clrMapOvr>
  <p:transition spd="slow">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_&amp;_Subtitle_&amp;_Content">
    <p:spTree>
      <p:nvGrpSpPr>
        <p:cNvPr id="1" name=""/>
        <p:cNvGrpSpPr/>
        <p:nvPr/>
      </p:nvGrpSpPr>
      <p:grpSpPr>
        <a:xfrm>
          <a:off x="0" y="0"/>
          <a:ext cx="0" cy="0"/>
          <a:chOff x="0" y="0"/>
          <a:chExt cx="0" cy="0"/>
        </a:xfrm>
      </p:grpSpPr>
      <p:sp>
        <p:nvSpPr>
          <p:cNvPr id="5" name="Text Placeholder 2"/>
          <p:cNvSpPr>
            <a:spLocks noGrp="1"/>
          </p:cNvSpPr>
          <p:nvPr>
            <p:ph idx="11" hasCustomPrompt="1"/>
          </p:nvPr>
        </p:nvSpPr>
        <p:spPr>
          <a:xfrm>
            <a:off x="556939" y="1781056"/>
            <a:ext cx="11088962"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40718" y="6307398"/>
            <a:ext cx="1248159" cy="476891"/>
          </a:xfrm>
          <a:prstGeom prst="rect">
            <a:avLst/>
          </a:prstGeom>
        </p:spPr>
      </p:pic>
    </p:spTree>
    <p:extLst>
      <p:ext uri="{BB962C8B-B14F-4D97-AF65-F5344CB8AC3E}">
        <p14:creationId xmlns:p14="http://schemas.microsoft.com/office/powerpoint/2010/main" val="2094863525"/>
      </p:ext>
    </p:extLst>
  </p:cSld>
  <p:clrMapOvr>
    <a:masterClrMapping/>
  </p:clrMapOvr>
  <p:transition spd="slow">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8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Text Placeholder 2"/>
          <p:cNvSpPr>
            <a:spLocks noGrp="1"/>
          </p:cNvSpPr>
          <p:nvPr>
            <p:ph idx="11" hasCustomPrompt="1"/>
          </p:nvPr>
        </p:nvSpPr>
        <p:spPr>
          <a:xfrm>
            <a:off x="552817" y="1792410"/>
            <a:ext cx="5465441"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p:cNvSpPr>
            <a:spLocks noGrp="1"/>
          </p:cNvSpPr>
          <p:nvPr>
            <p:ph idx="13" hasCustomPrompt="1"/>
          </p:nvPr>
        </p:nvSpPr>
        <p:spPr>
          <a:xfrm>
            <a:off x="6474902" y="1792410"/>
            <a:ext cx="5176614"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40718" y="6307398"/>
            <a:ext cx="1248159" cy="476891"/>
          </a:xfrm>
          <a:prstGeom prst="rect">
            <a:avLst/>
          </a:prstGeom>
        </p:spPr>
      </p:pic>
    </p:spTree>
    <p:extLst>
      <p:ext uri="{BB962C8B-B14F-4D97-AF65-F5344CB8AC3E}">
        <p14:creationId xmlns:p14="http://schemas.microsoft.com/office/powerpoint/2010/main" val="1137696055"/>
      </p:ext>
    </p:extLst>
  </p:cSld>
  <p:clrMapOvr>
    <a:masterClrMapping/>
  </p:clrMapOvr>
  <p:transition spd="slow">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
        <p:nvSpPr>
          <p:cNvPr id="6" name="Text Placeholder 3"/>
          <p:cNvSpPr>
            <a:spLocks noGrp="1"/>
          </p:cNvSpPr>
          <p:nvPr>
            <p:ph type="body" sz="quarter" idx="12" hasCustomPrompt="1"/>
          </p:nvPr>
        </p:nvSpPr>
        <p:spPr>
          <a:xfrm>
            <a:off x="556097" y="1070523"/>
            <a:ext cx="5403483"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
        <p:nvSpPr>
          <p:cNvPr id="7" name="Title Placeholder 1"/>
          <p:cNvSpPr>
            <a:spLocks noGrp="1"/>
          </p:cNvSpPr>
          <p:nvPr>
            <p:ph type="title" hasCustomPrompt="1"/>
          </p:nvPr>
        </p:nvSpPr>
        <p:spPr>
          <a:xfrm>
            <a:off x="556097" y="336127"/>
            <a:ext cx="540348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defRPr>
            </a:lvl1pPr>
          </a:lstStyle>
          <a:p>
            <a:r>
              <a:rPr lang="en-US" dirty="0"/>
              <a:t>Title</a:t>
            </a:r>
          </a:p>
        </p:txBody>
      </p:sp>
    </p:spTree>
    <p:extLst>
      <p:ext uri="{BB962C8B-B14F-4D97-AF65-F5344CB8AC3E}">
        <p14:creationId xmlns:p14="http://schemas.microsoft.com/office/powerpoint/2010/main" val="1134612994"/>
      </p:ext>
    </p:extLst>
  </p:cSld>
  <p:clrMapOvr>
    <a:masterClrMapping/>
  </p:clrMapOvr>
  <p:transition spd="slow">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_&amp;_Subtitle_&amp;_pic">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094" y="336132"/>
            <a:ext cx="11336415" cy="727715"/>
          </a:xfrm>
          <a:prstGeom prst="rect">
            <a:avLst/>
          </a:prstGeom>
        </p:spPr>
        <p:txBody>
          <a:bodyPr vert="horz" lIns="0" tIns="0" rIns="0" bIns="0" rtlCol="0" anchor="ctr">
            <a:normAutofit/>
          </a:bodyPr>
          <a:lstStyle>
            <a:lvl1pPr>
              <a:defRPr sz="4000" b="1" spc="-150">
                <a:solidFill>
                  <a:schemeClr val="tx1">
                    <a:lumMod val="50000"/>
                  </a:schemeClr>
                </a:solidFill>
                <a:latin typeface="+mn-lt"/>
              </a:defRPr>
            </a:lvl1pPr>
          </a:lstStyle>
          <a:p>
            <a:r>
              <a:rPr lang="en-US" dirty="0"/>
              <a:t>Title</a:t>
            </a:r>
          </a:p>
        </p:txBody>
      </p:sp>
      <p:sp>
        <p:nvSpPr>
          <p:cNvPr id="4" name="Text Placeholder 3"/>
          <p:cNvSpPr>
            <a:spLocks noGrp="1"/>
          </p:cNvSpPr>
          <p:nvPr>
            <p:ph type="body" sz="quarter" idx="12" hasCustomPrompt="1"/>
          </p:nvPr>
        </p:nvSpPr>
        <p:spPr>
          <a:xfrm>
            <a:off x="556095" y="1070528"/>
            <a:ext cx="11336414"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
        <p:nvSpPr>
          <p:cNvPr id="6" name="Picture Placeholder 5"/>
          <p:cNvSpPr>
            <a:spLocks noGrp="1"/>
          </p:cNvSpPr>
          <p:nvPr>
            <p:ph type="pic" sz="quarter" idx="13"/>
          </p:nvPr>
        </p:nvSpPr>
        <p:spPr>
          <a:xfrm>
            <a:off x="0" y="2365375"/>
            <a:ext cx="12192000" cy="4492625"/>
          </a:xfrm>
          <a:prstGeom prst="rect">
            <a:avLst/>
          </a:prstGeom>
        </p:spPr>
        <p:txBody>
          <a:bodyPr/>
          <a:lstStyle>
            <a:lvl1pPr>
              <a:defRPr>
                <a:solidFill>
                  <a:schemeClr val="tx1">
                    <a:lumMod val="50000"/>
                  </a:schemeClr>
                </a:solidFill>
              </a:defRPr>
            </a:lvl1pPr>
          </a:lstStyle>
          <a:p>
            <a:r>
              <a:rPr lang="en-US" dirty="0"/>
              <a:t>Click icon to add picture</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40718" y="6307398"/>
            <a:ext cx="1248159" cy="476891"/>
          </a:xfrm>
          <a:prstGeom prst="rect">
            <a:avLst/>
          </a:prstGeom>
        </p:spPr>
      </p:pic>
    </p:spTree>
    <p:extLst>
      <p:ext uri="{BB962C8B-B14F-4D97-AF65-F5344CB8AC3E}">
        <p14:creationId xmlns:p14="http://schemas.microsoft.com/office/powerpoint/2010/main" val="1241218638"/>
      </p:ext>
    </p:extLst>
  </p:cSld>
  <p:clrMapOvr>
    <a:masterClrMapping/>
  </p:clrMapOvr>
  <p:transition spd="slow">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_&amp;_Subtitl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095" y="336128"/>
            <a:ext cx="1052793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defRPr>
            </a:lvl1pPr>
          </a:lstStyle>
          <a:p>
            <a:r>
              <a:rPr lang="en-US" dirty="0"/>
              <a:t>Title</a:t>
            </a:r>
          </a:p>
        </p:txBody>
      </p:sp>
      <p:sp>
        <p:nvSpPr>
          <p:cNvPr id="4" name="Text Placeholder 3"/>
          <p:cNvSpPr>
            <a:spLocks noGrp="1"/>
          </p:cNvSpPr>
          <p:nvPr>
            <p:ph type="body" sz="quarter" idx="12" hasCustomPrompt="1"/>
          </p:nvPr>
        </p:nvSpPr>
        <p:spPr>
          <a:xfrm>
            <a:off x="556094" y="1070524"/>
            <a:ext cx="10527237"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40718" y="6307398"/>
            <a:ext cx="1248159" cy="476891"/>
          </a:xfrm>
          <a:prstGeom prst="rect">
            <a:avLst/>
          </a:prstGeom>
        </p:spPr>
      </p:pic>
    </p:spTree>
    <p:extLst>
      <p:ext uri="{BB962C8B-B14F-4D97-AF65-F5344CB8AC3E}">
        <p14:creationId xmlns:p14="http://schemas.microsoft.com/office/powerpoint/2010/main" val="3137248523"/>
      </p:ext>
    </p:extLst>
  </p:cSld>
  <p:clrMapOvr>
    <a:masterClrMapping/>
  </p:clrMapOvr>
  <p:transition spd="slow">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latin typeface="Segoe UI Light" panose="020B0502040204020203" pitchFamily="34" charset="0"/>
                <a:cs typeface="Segoe UI Light" panose="020B0502040204020203" pitchFamily="34" charset="0"/>
              </a:defRPr>
            </a:lvl1pPr>
          </a:lstStyle>
          <a:p>
            <a:r>
              <a:rPr lang="en-US" dirty="0" smtClean="0"/>
              <a:t>Click to edit Master title style</a:t>
            </a:r>
            <a:endParaRPr lang="en-AU" dirty="0"/>
          </a:p>
        </p:txBody>
      </p:sp>
      <p:sp>
        <p:nvSpPr>
          <p:cNvPr id="3" name="Content Placeholder 2"/>
          <p:cNvSpPr>
            <a:spLocks noGrp="1"/>
          </p:cNvSpPr>
          <p:nvPr>
            <p:ph idx="1"/>
          </p:nvPr>
        </p:nvSpPr>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4" name="Date Placeholder 3"/>
          <p:cNvSpPr>
            <a:spLocks noGrp="1"/>
          </p:cNvSpPr>
          <p:nvPr>
            <p:ph type="dt" sz="half" idx="10"/>
          </p:nvPr>
        </p:nvSpPr>
        <p:spPr/>
        <p:txBody>
          <a:bodyPr/>
          <a:lstStyle/>
          <a:p>
            <a:fld id="{54AE3484-B8A1-4222-B9DF-BFD33E16A4DB}" type="datetimeFigureOut">
              <a:rPr lang="en-AU" smtClean="0"/>
              <a:t>10/06/2019</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533A611A-3D9B-47B2-9421-39284F05C1C8}" type="slidenum">
              <a:rPr lang="en-AU" smtClean="0"/>
              <a:t>‹#›</a:t>
            </a:fld>
            <a:endParaRPr lang="en-AU"/>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40718" y="6307398"/>
            <a:ext cx="1248159" cy="476891"/>
          </a:xfrm>
          <a:prstGeom prst="rect">
            <a:avLst/>
          </a:prstGeom>
        </p:spPr>
      </p:pic>
    </p:spTree>
    <p:extLst>
      <p:ext uri="{BB962C8B-B14F-4D97-AF65-F5344CB8AC3E}">
        <p14:creationId xmlns:p14="http://schemas.microsoft.com/office/powerpoint/2010/main" val="317339218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ackground_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6518510" cy="5029200"/>
          </a:xfrm>
          <a:prstGeom prst="rect">
            <a:avLst/>
          </a:prstGeom>
        </p:spPr>
      </p:pic>
      <p:grpSp>
        <p:nvGrpSpPr>
          <p:cNvPr id="7" name="Group 6"/>
          <p:cNvGrpSpPr/>
          <p:nvPr userDrawn="1"/>
        </p:nvGrpSpPr>
        <p:grpSpPr>
          <a:xfrm>
            <a:off x="0" y="-3175"/>
            <a:ext cx="12192000" cy="6867525"/>
            <a:chOff x="0" y="-3175"/>
            <a:chExt cx="12192000" cy="6867525"/>
          </a:xfrm>
        </p:grpSpPr>
        <p:sp>
          <p:nvSpPr>
            <p:cNvPr id="8" name="AutoShape 58"/>
            <p:cNvSpPr>
              <a:spLocks noChangeAspect="1" noChangeArrowheads="1" noTextEdit="1"/>
            </p:cNvSpPr>
            <p:nvPr userDrawn="1"/>
          </p:nvSpPr>
          <p:spPr bwMode="auto">
            <a:xfrm>
              <a:off x="0" y="-3175"/>
              <a:ext cx="12192000" cy="68643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 name="Freeform 60"/>
            <p:cNvSpPr>
              <a:spLocks/>
            </p:cNvSpPr>
            <p:nvPr userDrawn="1"/>
          </p:nvSpPr>
          <p:spPr bwMode="auto">
            <a:xfrm>
              <a:off x="3175" y="0"/>
              <a:ext cx="12185650" cy="6864350"/>
            </a:xfrm>
            <a:custGeom>
              <a:avLst/>
              <a:gdLst>
                <a:gd name="T0" fmla="*/ 2620 w 7676"/>
                <a:gd name="T1" fmla="*/ 0 h 4324"/>
                <a:gd name="T2" fmla="*/ 3866 w 7676"/>
                <a:gd name="T3" fmla="*/ 2987 h 4324"/>
                <a:gd name="T4" fmla="*/ 0 w 7676"/>
                <a:gd name="T5" fmla="*/ 2068 h 4324"/>
                <a:gd name="T6" fmla="*/ 0 w 7676"/>
                <a:gd name="T7" fmla="*/ 4324 h 4324"/>
                <a:gd name="T8" fmla="*/ 7676 w 7676"/>
                <a:gd name="T9" fmla="*/ 4324 h 4324"/>
                <a:gd name="T10" fmla="*/ 7676 w 7676"/>
                <a:gd name="T11" fmla="*/ 0 h 4324"/>
                <a:gd name="T12" fmla="*/ 2620 w 7676"/>
                <a:gd name="T13" fmla="*/ 0 h 4324"/>
              </a:gdLst>
              <a:ahLst/>
              <a:cxnLst>
                <a:cxn ang="0">
                  <a:pos x="T0" y="T1"/>
                </a:cxn>
                <a:cxn ang="0">
                  <a:pos x="T2" y="T3"/>
                </a:cxn>
                <a:cxn ang="0">
                  <a:pos x="T4" y="T5"/>
                </a:cxn>
                <a:cxn ang="0">
                  <a:pos x="T6" y="T7"/>
                </a:cxn>
                <a:cxn ang="0">
                  <a:pos x="T8" y="T9"/>
                </a:cxn>
                <a:cxn ang="0">
                  <a:pos x="T10" y="T11"/>
                </a:cxn>
                <a:cxn ang="0">
                  <a:pos x="T12" y="T13"/>
                </a:cxn>
              </a:cxnLst>
              <a:rect l="0" t="0" r="r" b="b"/>
              <a:pathLst>
                <a:path w="7676" h="4324">
                  <a:moveTo>
                    <a:pt x="2620" y="0"/>
                  </a:moveTo>
                  <a:lnTo>
                    <a:pt x="3866" y="2987"/>
                  </a:lnTo>
                  <a:lnTo>
                    <a:pt x="0" y="2068"/>
                  </a:lnTo>
                  <a:lnTo>
                    <a:pt x="0" y="4324"/>
                  </a:lnTo>
                  <a:lnTo>
                    <a:pt x="7676" y="4324"/>
                  </a:lnTo>
                  <a:lnTo>
                    <a:pt x="7676" y="0"/>
                  </a:lnTo>
                  <a:lnTo>
                    <a:pt x="262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61"/>
            <p:cNvSpPr>
              <a:spLocks/>
            </p:cNvSpPr>
            <p:nvPr userDrawn="1"/>
          </p:nvSpPr>
          <p:spPr bwMode="auto">
            <a:xfrm>
              <a:off x="3144845" y="4048139"/>
              <a:ext cx="2998821" cy="1681149"/>
            </a:xfrm>
            <a:custGeom>
              <a:avLst/>
              <a:gdLst>
                <a:gd name="T0" fmla="*/ 44 w 1874"/>
                <a:gd name="T1" fmla="*/ 0 h 1071"/>
                <a:gd name="T2" fmla="*/ 1874 w 1874"/>
                <a:gd name="T3" fmla="*/ 447 h 1071"/>
                <a:gd name="T4" fmla="*/ 276 w 1874"/>
                <a:gd name="T5" fmla="*/ 1071 h 1071"/>
                <a:gd name="T6" fmla="*/ 0 w 1874"/>
                <a:gd name="T7" fmla="*/ 102 h 1071"/>
                <a:gd name="T8" fmla="*/ 44 w 1874"/>
                <a:gd name="T9" fmla="*/ 0 h 1071"/>
                <a:gd name="connsiteX0" fmla="*/ 283 w 10048"/>
                <a:gd name="connsiteY0" fmla="*/ 0 h 10000"/>
                <a:gd name="connsiteX1" fmla="*/ 10048 w 10048"/>
                <a:gd name="connsiteY1" fmla="*/ 4174 h 10000"/>
                <a:gd name="connsiteX2" fmla="*/ 1521 w 10048"/>
                <a:gd name="connsiteY2" fmla="*/ 10000 h 10000"/>
                <a:gd name="connsiteX3" fmla="*/ 0 w 10048"/>
                <a:gd name="connsiteY3" fmla="*/ 1134 h 10000"/>
                <a:gd name="connsiteX4" fmla="*/ 283 w 10048"/>
                <a:gd name="connsiteY4" fmla="*/ 0 h 10000"/>
                <a:gd name="connsiteX0" fmla="*/ 315 w 10048"/>
                <a:gd name="connsiteY0" fmla="*/ 0 h 9426"/>
                <a:gd name="connsiteX1" fmla="*/ 10048 w 10048"/>
                <a:gd name="connsiteY1" fmla="*/ 3600 h 9426"/>
                <a:gd name="connsiteX2" fmla="*/ 1521 w 10048"/>
                <a:gd name="connsiteY2" fmla="*/ 9426 h 9426"/>
                <a:gd name="connsiteX3" fmla="*/ 0 w 10048"/>
                <a:gd name="connsiteY3" fmla="*/ 560 h 9426"/>
                <a:gd name="connsiteX4" fmla="*/ 315 w 10048"/>
                <a:gd name="connsiteY4" fmla="*/ 0 h 9426"/>
                <a:gd name="connsiteX0" fmla="*/ 257 w 10000"/>
                <a:gd name="connsiteY0" fmla="*/ 0 h 10475"/>
                <a:gd name="connsiteX1" fmla="*/ 10000 w 10000"/>
                <a:gd name="connsiteY1" fmla="*/ 4294 h 10475"/>
                <a:gd name="connsiteX2" fmla="*/ 1514 w 10000"/>
                <a:gd name="connsiteY2" fmla="*/ 10475 h 10475"/>
                <a:gd name="connsiteX3" fmla="*/ 0 w 10000"/>
                <a:gd name="connsiteY3" fmla="*/ 1069 h 10475"/>
                <a:gd name="connsiteX4" fmla="*/ 257 w 10000"/>
                <a:gd name="connsiteY4" fmla="*/ 0 h 10475"/>
                <a:gd name="connsiteX0" fmla="*/ 241 w 10000"/>
                <a:gd name="connsiteY0" fmla="*/ 0 h 10490"/>
                <a:gd name="connsiteX1" fmla="*/ 10000 w 10000"/>
                <a:gd name="connsiteY1" fmla="*/ 4309 h 10490"/>
                <a:gd name="connsiteX2" fmla="*/ 1514 w 10000"/>
                <a:gd name="connsiteY2" fmla="*/ 10490 h 10490"/>
                <a:gd name="connsiteX3" fmla="*/ 0 w 10000"/>
                <a:gd name="connsiteY3" fmla="*/ 1084 h 10490"/>
                <a:gd name="connsiteX4" fmla="*/ 241 w 10000"/>
                <a:gd name="connsiteY4" fmla="*/ 0 h 10490"/>
                <a:gd name="connsiteX0" fmla="*/ 241 w 10000"/>
                <a:gd name="connsiteY0" fmla="*/ 0 h 10490"/>
                <a:gd name="connsiteX1" fmla="*/ 10000 w 10000"/>
                <a:gd name="connsiteY1" fmla="*/ 4309 h 10490"/>
                <a:gd name="connsiteX2" fmla="*/ 1514 w 10000"/>
                <a:gd name="connsiteY2" fmla="*/ 10490 h 10490"/>
                <a:gd name="connsiteX3" fmla="*/ 0 w 10000"/>
                <a:gd name="connsiteY3" fmla="*/ 1084 h 10490"/>
                <a:gd name="connsiteX4" fmla="*/ 241 w 10000"/>
                <a:gd name="connsiteY4" fmla="*/ 0 h 10490"/>
                <a:gd name="connsiteX0" fmla="*/ 241 w 10032"/>
                <a:gd name="connsiteY0" fmla="*/ 0 h 10490"/>
                <a:gd name="connsiteX1" fmla="*/ 10032 w 10032"/>
                <a:gd name="connsiteY1" fmla="*/ 4309 h 10490"/>
                <a:gd name="connsiteX2" fmla="*/ 1514 w 10032"/>
                <a:gd name="connsiteY2" fmla="*/ 10490 h 10490"/>
                <a:gd name="connsiteX3" fmla="*/ 0 w 10032"/>
                <a:gd name="connsiteY3" fmla="*/ 1084 h 10490"/>
                <a:gd name="connsiteX4" fmla="*/ 241 w 10032"/>
                <a:gd name="connsiteY4" fmla="*/ 0 h 10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2" h="10490">
                  <a:moveTo>
                    <a:pt x="241" y="0"/>
                  </a:moveTo>
                  <a:lnTo>
                    <a:pt x="10032" y="4309"/>
                  </a:lnTo>
                  <a:lnTo>
                    <a:pt x="1514" y="10490"/>
                  </a:lnTo>
                  <a:lnTo>
                    <a:pt x="0" y="1084"/>
                  </a:lnTo>
                  <a:cubicBezTo>
                    <a:pt x="94" y="683"/>
                    <a:pt x="148" y="431"/>
                    <a:pt x="241" y="0"/>
                  </a:cubicBezTo>
                  <a:close/>
                </a:path>
              </a:pathLst>
            </a:custGeom>
            <a:solidFill>
              <a:srgbClr val="C08FC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Freeform 62"/>
            <p:cNvSpPr>
              <a:spLocks/>
            </p:cNvSpPr>
            <p:nvPr userDrawn="1"/>
          </p:nvSpPr>
          <p:spPr bwMode="auto">
            <a:xfrm>
              <a:off x="2286000" y="5716588"/>
              <a:ext cx="1612900" cy="928688"/>
            </a:xfrm>
            <a:custGeom>
              <a:avLst/>
              <a:gdLst>
                <a:gd name="T0" fmla="*/ 0 w 1016"/>
                <a:gd name="T1" fmla="*/ 333 h 585"/>
                <a:gd name="T2" fmla="*/ 1016 w 1016"/>
                <a:gd name="T3" fmla="*/ 585 h 585"/>
                <a:gd name="T4" fmla="*/ 840 w 1016"/>
                <a:gd name="T5" fmla="*/ 0 h 585"/>
                <a:gd name="T6" fmla="*/ 0 w 1016"/>
                <a:gd name="T7" fmla="*/ 333 h 585"/>
              </a:gdLst>
              <a:ahLst/>
              <a:cxnLst>
                <a:cxn ang="0">
                  <a:pos x="T0" y="T1"/>
                </a:cxn>
                <a:cxn ang="0">
                  <a:pos x="T2" y="T3"/>
                </a:cxn>
                <a:cxn ang="0">
                  <a:pos x="T4" y="T5"/>
                </a:cxn>
                <a:cxn ang="0">
                  <a:pos x="T6" y="T7"/>
                </a:cxn>
              </a:cxnLst>
              <a:rect l="0" t="0" r="r" b="b"/>
              <a:pathLst>
                <a:path w="1016" h="585">
                  <a:moveTo>
                    <a:pt x="0" y="333"/>
                  </a:moveTo>
                  <a:lnTo>
                    <a:pt x="1016" y="585"/>
                  </a:lnTo>
                  <a:lnTo>
                    <a:pt x="840" y="0"/>
                  </a:lnTo>
                  <a:lnTo>
                    <a:pt x="0" y="333"/>
                  </a:lnTo>
                  <a:close/>
                </a:path>
              </a:pathLst>
            </a:custGeom>
            <a:solidFill>
              <a:srgbClr val="CFA9C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63"/>
            <p:cNvSpPr>
              <a:spLocks/>
            </p:cNvSpPr>
            <p:nvPr userDrawn="1"/>
          </p:nvSpPr>
          <p:spPr bwMode="auto">
            <a:xfrm>
              <a:off x="2286000" y="4191000"/>
              <a:ext cx="1333500" cy="2054225"/>
            </a:xfrm>
            <a:custGeom>
              <a:avLst/>
              <a:gdLst>
                <a:gd name="T0" fmla="*/ 550 w 840"/>
                <a:gd name="T1" fmla="*/ 0 h 1294"/>
                <a:gd name="T2" fmla="*/ 0 w 840"/>
                <a:gd name="T3" fmla="*/ 1294 h 1294"/>
                <a:gd name="T4" fmla="*/ 840 w 840"/>
                <a:gd name="T5" fmla="*/ 965 h 1294"/>
                <a:gd name="T6" fmla="*/ 550 w 840"/>
                <a:gd name="T7" fmla="*/ 0 h 1294"/>
              </a:gdLst>
              <a:ahLst/>
              <a:cxnLst>
                <a:cxn ang="0">
                  <a:pos x="T0" y="T1"/>
                </a:cxn>
                <a:cxn ang="0">
                  <a:pos x="T2" y="T3"/>
                </a:cxn>
                <a:cxn ang="0">
                  <a:pos x="T4" y="T5"/>
                </a:cxn>
                <a:cxn ang="0">
                  <a:pos x="T6" y="T7"/>
                </a:cxn>
              </a:cxnLst>
              <a:rect l="0" t="0" r="r" b="b"/>
              <a:pathLst>
                <a:path w="840" h="1294">
                  <a:moveTo>
                    <a:pt x="550" y="0"/>
                  </a:moveTo>
                  <a:lnTo>
                    <a:pt x="0" y="1294"/>
                  </a:lnTo>
                  <a:lnTo>
                    <a:pt x="840" y="965"/>
                  </a:lnTo>
                  <a:lnTo>
                    <a:pt x="550" y="0"/>
                  </a:lnTo>
                  <a:close/>
                </a:path>
              </a:pathLst>
            </a:custGeom>
            <a:solidFill>
              <a:srgbClr val="B881B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8" name="Title 1"/>
          <p:cNvSpPr>
            <a:spLocks noGrp="1"/>
          </p:cNvSpPr>
          <p:nvPr>
            <p:ph type="ctrTitle" hasCustomPrompt="1"/>
          </p:nvPr>
        </p:nvSpPr>
        <p:spPr>
          <a:xfrm>
            <a:off x="5731226" y="2322535"/>
            <a:ext cx="5768774" cy="879910"/>
          </a:xfrm>
          <a:prstGeom prst="rect">
            <a:avLst/>
          </a:prstGeom>
        </p:spPr>
        <p:txBody>
          <a:bodyPr>
            <a:noAutofit/>
          </a:bodyPr>
          <a:lstStyle>
            <a:lvl1pPr>
              <a:defRPr sz="5000" baseline="0">
                <a:solidFill>
                  <a:schemeClr val="tx1"/>
                </a:solidFill>
              </a:defRPr>
            </a:lvl1pPr>
          </a:lstStyle>
          <a:p>
            <a:r>
              <a:rPr lang="en-US" dirty="0"/>
              <a:t>Headline here,  </a:t>
            </a:r>
            <a:br>
              <a:rPr lang="en-US" dirty="0"/>
            </a:br>
            <a:r>
              <a:rPr lang="en-US" dirty="0"/>
              <a:t> second line here</a:t>
            </a:r>
          </a:p>
        </p:txBody>
      </p:sp>
      <p:sp>
        <p:nvSpPr>
          <p:cNvPr id="21" name="Text Placeholder 7"/>
          <p:cNvSpPr>
            <a:spLocks noGrp="1"/>
          </p:cNvSpPr>
          <p:nvPr>
            <p:ph type="body" sz="quarter" idx="10" hasCustomPrompt="1"/>
          </p:nvPr>
        </p:nvSpPr>
        <p:spPr>
          <a:xfrm>
            <a:off x="6182012" y="3891200"/>
            <a:ext cx="5783797" cy="863866"/>
          </a:xfrm>
          <a:prstGeom prst="rect">
            <a:avLst/>
          </a:prstGeom>
        </p:spPr>
        <p:txBody>
          <a:bodyPr>
            <a:normAutofit/>
          </a:bodyPr>
          <a:lstStyle>
            <a:lvl1pPr marL="0" indent="0">
              <a:buNone/>
              <a:defRPr sz="2800" baseline="0">
                <a:solidFill>
                  <a:schemeClr val="tx1"/>
                </a:solidFill>
                <a:latin typeface="+mj-lt"/>
              </a:defRPr>
            </a:lvl1pPr>
            <a:lvl2pPr marL="336080" indent="0">
              <a:buNone/>
              <a:defRPr sz="1567">
                <a:solidFill>
                  <a:schemeClr val="bg1"/>
                </a:solidFill>
                <a:latin typeface="+mj-lt"/>
              </a:defRPr>
            </a:lvl2pPr>
            <a:lvl3pPr marL="560134" indent="0">
              <a:buNone/>
              <a:defRPr sz="1371">
                <a:solidFill>
                  <a:schemeClr val="bg1"/>
                </a:solidFill>
                <a:latin typeface="+mj-lt"/>
              </a:defRPr>
            </a:lvl3pPr>
            <a:lvl4pPr marL="784187" indent="0">
              <a:buNone/>
              <a:defRPr sz="1175">
                <a:solidFill>
                  <a:schemeClr val="bg1"/>
                </a:solidFill>
                <a:latin typeface="+mj-lt"/>
              </a:defRPr>
            </a:lvl4pPr>
            <a:lvl5pPr marL="1008241" indent="0">
              <a:buNone/>
              <a:defRPr sz="1175">
                <a:solidFill>
                  <a:schemeClr val="bg1"/>
                </a:solidFill>
                <a:latin typeface="+mj-lt"/>
              </a:defRPr>
            </a:lvl5pPr>
          </a:lstStyle>
          <a:p>
            <a:pPr lvl="0"/>
            <a:r>
              <a:rPr lang="en-US" dirty="0"/>
              <a:t>Sub header here</a:t>
            </a:r>
          </a:p>
        </p:txBody>
      </p:sp>
      <p:sp>
        <p:nvSpPr>
          <p:cNvPr id="17" name="Freeform 7"/>
          <p:cNvSpPr>
            <a:spLocks noEditPoints="1"/>
          </p:cNvSpPr>
          <p:nvPr userDrawn="1"/>
        </p:nvSpPr>
        <p:spPr bwMode="auto">
          <a:xfrm>
            <a:off x="10277475" y="6333878"/>
            <a:ext cx="1491240" cy="208935"/>
          </a:xfrm>
          <a:custGeom>
            <a:avLst/>
            <a:gdLst>
              <a:gd name="T0" fmla="*/ 657 w 703"/>
              <a:gd name="T1" fmla="*/ 40 h 98"/>
              <a:gd name="T2" fmla="*/ 615 w 703"/>
              <a:gd name="T3" fmla="*/ 28 h 98"/>
              <a:gd name="T4" fmla="*/ 615 w 703"/>
              <a:gd name="T5" fmla="*/ 97 h 98"/>
              <a:gd name="T6" fmla="*/ 652 w 703"/>
              <a:gd name="T7" fmla="*/ 52 h 98"/>
              <a:gd name="T8" fmla="*/ 659 w 703"/>
              <a:gd name="T9" fmla="*/ 55 h 98"/>
              <a:gd name="T10" fmla="*/ 697 w 703"/>
              <a:gd name="T11" fmla="*/ 97 h 98"/>
              <a:gd name="T12" fmla="*/ 522 w 703"/>
              <a:gd name="T13" fmla="*/ 62 h 98"/>
              <a:gd name="T14" fmla="*/ 558 w 703"/>
              <a:gd name="T15" fmla="*/ 26 h 98"/>
              <a:gd name="T16" fmla="*/ 558 w 703"/>
              <a:gd name="T17" fmla="*/ 32 h 98"/>
              <a:gd name="T18" fmla="*/ 529 w 703"/>
              <a:gd name="T19" fmla="*/ 62 h 98"/>
              <a:gd name="T20" fmla="*/ 453 w 703"/>
              <a:gd name="T21" fmla="*/ 62 h 98"/>
              <a:gd name="T22" fmla="*/ 510 w 703"/>
              <a:gd name="T23" fmla="*/ 81 h 98"/>
              <a:gd name="T24" fmla="*/ 487 w 703"/>
              <a:gd name="T25" fmla="*/ 32 h 98"/>
              <a:gd name="T26" fmla="*/ 429 w 703"/>
              <a:gd name="T27" fmla="*/ 93 h 98"/>
              <a:gd name="T28" fmla="*/ 434 w 703"/>
              <a:gd name="T29" fmla="*/ 87 h 98"/>
              <a:gd name="T30" fmla="*/ 386 w 703"/>
              <a:gd name="T31" fmla="*/ 59 h 98"/>
              <a:gd name="T32" fmla="*/ 367 w 703"/>
              <a:gd name="T33" fmla="*/ 75 h 98"/>
              <a:gd name="T34" fmla="*/ 406 w 703"/>
              <a:gd name="T35" fmla="*/ 90 h 98"/>
              <a:gd name="T36" fmla="*/ 413 w 703"/>
              <a:gd name="T37" fmla="*/ 50 h 98"/>
              <a:gd name="T38" fmla="*/ 366 w 703"/>
              <a:gd name="T39" fmla="*/ 38 h 98"/>
              <a:gd name="T40" fmla="*/ 406 w 703"/>
              <a:gd name="T41" fmla="*/ 60 h 98"/>
              <a:gd name="T42" fmla="*/ 338 w 703"/>
              <a:gd name="T43" fmla="*/ 62 h 98"/>
              <a:gd name="T44" fmla="*/ 312 w 703"/>
              <a:gd name="T45" fmla="*/ 32 h 98"/>
              <a:gd name="T46" fmla="*/ 338 w 703"/>
              <a:gd name="T47" fmla="*/ 0 h 98"/>
              <a:gd name="T48" fmla="*/ 279 w 703"/>
              <a:gd name="T49" fmla="*/ 62 h 98"/>
              <a:gd name="T50" fmla="*/ 338 w 703"/>
              <a:gd name="T51" fmla="*/ 97 h 98"/>
              <a:gd name="T52" fmla="*/ 219 w 703"/>
              <a:gd name="T53" fmla="*/ 75 h 98"/>
              <a:gd name="T54" fmla="*/ 239 w 703"/>
              <a:gd name="T55" fmla="*/ 92 h 98"/>
              <a:gd name="T56" fmla="*/ 239 w 703"/>
              <a:gd name="T57" fmla="*/ 98 h 98"/>
              <a:gd name="T58" fmla="*/ 265 w 703"/>
              <a:gd name="T59" fmla="*/ 97 h 98"/>
              <a:gd name="T60" fmla="*/ 215 w 703"/>
              <a:gd name="T61" fmla="*/ 33 h 98"/>
              <a:gd name="T62" fmla="*/ 258 w 703"/>
              <a:gd name="T63" fmla="*/ 50 h 98"/>
              <a:gd name="T64" fmla="*/ 212 w 703"/>
              <a:gd name="T65" fmla="*/ 75 h 98"/>
              <a:gd name="T66" fmla="*/ 182 w 703"/>
              <a:gd name="T67" fmla="*/ 28 h 98"/>
              <a:gd name="T68" fmla="*/ 182 w 703"/>
              <a:gd name="T69" fmla="*/ 97 h 98"/>
              <a:gd name="T70" fmla="*/ 203 w 703"/>
              <a:gd name="T71" fmla="*/ 26 h 98"/>
              <a:gd name="T72" fmla="*/ 155 w 703"/>
              <a:gd name="T73" fmla="*/ 0 h 98"/>
              <a:gd name="T74" fmla="*/ 75 w 703"/>
              <a:gd name="T75" fmla="*/ 57 h 98"/>
              <a:gd name="T76" fmla="*/ 75 w 703"/>
              <a:gd name="T77" fmla="*/ 57 h 98"/>
              <a:gd name="T78" fmla="*/ 131 w 703"/>
              <a:gd name="T79" fmla="*/ 83 h 98"/>
              <a:gd name="T80" fmla="*/ 75 w 703"/>
              <a:gd name="T81" fmla="*/ 63 h 98"/>
              <a:gd name="T82" fmla="*/ 101 w 703"/>
              <a:gd name="T83" fmla="*/ 26 h 98"/>
              <a:gd name="T84" fmla="*/ 62 w 703"/>
              <a:gd name="T85" fmla="*/ 28 h 98"/>
              <a:gd name="T86" fmla="*/ 7 w 703"/>
              <a:gd name="T87" fmla="*/ 28 h 98"/>
              <a:gd name="T88" fmla="*/ 34 w 703"/>
              <a:gd name="T89" fmla="*/ 9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03" h="98">
                <a:moveTo>
                  <a:pt x="703" y="52"/>
                </a:moveTo>
                <a:cubicBezTo>
                  <a:pt x="703" y="37"/>
                  <a:pt x="695" y="26"/>
                  <a:pt x="680" y="26"/>
                </a:cubicBezTo>
                <a:cubicBezTo>
                  <a:pt x="670" y="26"/>
                  <a:pt x="661" y="31"/>
                  <a:pt x="657" y="40"/>
                </a:cubicBezTo>
                <a:cubicBezTo>
                  <a:pt x="654" y="31"/>
                  <a:pt x="646" y="26"/>
                  <a:pt x="635" y="26"/>
                </a:cubicBezTo>
                <a:cubicBezTo>
                  <a:pt x="625" y="26"/>
                  <a:pt x="617" y="32"/>
                  <a:pt x="615" y="39"/>
                </a:cubicBezTo>
                <a:cubicBezTo>
                  <a:pt x="615" y="28"/>
                  <a:pt x="615" y="28"/>
                  <a:pt x="615" y="28"/>
                </a:cubicBezTo>
                <a:cubicBezTo>
                  <a:pt x="608" y="28"/>
                  <a:pt x="608" y="28"/>
                  <a:pt x="608" y="28"/>
                </a:cubicBezTo>
                <a:cubicBezTo>
                  <a:pt x="608" y="97"/>
                  <a:pt x="608" y="97"/>
                  <a:pt x="608" y="97"/>
                </a:cubicBezTo>
                <a:cubicBezTo>
                  <a:pt x="615" y="97"/>
                  <a:pt x="615" y="97"/>
                  <a:pt x="615" y="97"/>
                </a:cubicBezTo>
                <a:cubicBezTo>
                  <a:pt x="615" y="55"/>
                  <a:pt x="615" y="55"/>
                  <a:pt x="615" y="55"/>
                </a:cubicBezTo>
                <a:cubicBezTo>
                  <a:pt x="615" y="41"/>
                  <a:pt x="624" y="32"/>
                  <a:pt x="634" y="32"/>
                </a:cubicBezTo>
                <a:cubicBezTo>
                  <a:pt x="645" y="32"/>
                  <a:pt x="652" y="40"/>
                  <a:pt x="652" y="52"/>
                </a:cubicBezTo>
                <a:cubicBezTo>
                  <a:pt x="652" y="97"/>
                  <a:pt x="652" y="97"/>
                  <a:pt x="652" y="97"/>
                </a:cubicBezTo>
                <a:cubicBezTo>
                  <a:pt x="659" y="97"/>
                  <a:pt x="659" y="97"/>
                  <a:pt x="659" y="97"/>
                </a:cubicBezTo>
                <a:cubicBezTo>
                  <a:pt x="659" y="55"/>
                  <a:pt x="659" y="55"/>
                  <a:pt x="659" y="55"/>
                </a:cubicBezTo>
                <a:cubicBezTo>
                  <a:pt x="659" y="40"/>
                  <a:pt x="668" y="32"/>
                  <a:pt x="679" y="32"/>
                </a:cubicBezTo>
                <a:cubicBezTo>
                  <a:pt x="691" y="32"/>
                  <a:pt x="697" y="40"/>
                  <a:pt x="697" y="55"/>
                </a:cubicBezTo>
                <a:cubicBezTo>
                  <a:pt x="697" y="97"/>
                  <a:pt x="697" y="97"/>
                  <a:pt x="697" y="97"/>
                </a:cubicBezTo>
                <a:cubicBezTo>
                  <a:pt x="703" y="97"/>
                  <a:pt x="703" y="97"/>
                  <a:pt x="703" y="97"/>
                </a:cubicBezTo>
                <a:lnTo>
                  <a:pt x="703" y="52"/>
                </a:lnTo>
                <a:close/>
                <a:moveTo>
                  <a:pt x="522" y="62"/>
                </a:moveTo>
                <a:cubicBezTo>
                  <a:pt x="522" y="83"/>
                  <a:pt x="537" y="98"/>
                  <a:pt x="558" y="98"/>
                </a:cubicBezTo>
                <a:cubicBezTo>
                  <a:pt x="578" y="98"/>
                  <a:pt x="593" y="83"/>
                  <a:pt x="593" y="62"/>
                </a:cubicBezTo>
                <a:cubicBezTo>
                  <a:pt x="593" y="42"/>
                  <a:pt x="578" y="26"/>
                  <a:pt x="558" y="26"/>
                </a:cubicBezTo>
                <a:cubicBezTo>
                  <a:pt x="537" y="26"/>
                  <a:pt x="522" y="41"/>
                  <a:pt x="522" y="62"/>
                </a:cubicBezTo>
                <a:moveTo>
                  <a:pt x="529" y="62"/>
                </a:moveTo>
                <a:cubicBezTo>
                  <a:pt x="529" y="45"/>
                  <a:pt x="541" y="32"/>
                  <a:pt x="558" y="32"/>
                </a:cubicBezTo>
                <a:cubicBezTo>
                  <a:pt x="574" y="32"/>
                  <a:pt x="586" y="45"/>
                  <a:pt x="586" y="62"/>
                </a:cubicBezTo>
                <a:cubicBezTo>
                  <a:pt x="586" y="79"/>
                  <a:pt x="574" y="92"/>
                  <a:pt x="558" y="92"/>
                </a:cubicBezTo>
                <a:cubicBezTo>
                  <a:pt x="541" y="92"/>
                  <a:pt x="529" y="79"/>
                  <a:pt x="529" y="62"/>
                </a:cubicBezTo>
                <a:moveTo>
                  <a:pt x="512" y="36"/>
                </a:moveTo>
                <a:cubicBezTo>
                  <a:pt x="509" y="33"/>
                  <a:pt x="501" y="26"/>
                  <a:pt x="487" y="26"/>
                </a:cubicBezTo>
                <a:cubicBezTo>
                  <a:pt x="467" y="26"/>
                  <a:pt x="453" y="42"/>
                  <a:pt x="453" y="62"/>
                </a:cubicBezTo>
                <a:cubicBezTo>
                  <a:pt x="453" y="82"/>
                  <a:pt x="467" y="98"/>
                  <a:pt x="487" y="98"/>
                </a:cubicBezTo>
                <a:cubicBezTo>
                  <a:pt x="501" y="98"/>
                  <a:pt x="510" y="90"/>
                  <a:pt x="513" y="87"/>
                </a:cubicBezTo>
                <a:cubicBezTo>
                  <a:pt x="510" y="81"/>
                  <a:pt x="510" y="81"/>
                  <a:pt x="510" y="81"/>
                </a:cubicBezTo>
                <a:cubicBezTo>
                  <a:pt x="508" y="84"/>
                  <a:pt x="500" y="92"/>
                  <a:pt x="487" y="92"/>
                </a:cubicBezTo>
                <a:cubicBezTo>
                  <a:pt x="472" y="92"/>
                  <a:pt x="460" y="79"/>
                  <a:pt x="460" y="62"/>
                </a:cubicBezTo>
                <a:cubicBezTo>
                  <a:pt x="460" y="45"/>
                  <a:pt x="471" y="32"/>
                  <a:pt x="487" y="32"/>
                </a:cubicBezTo>
                <a:cubicBezTo>
                  <a:pt x="499" y="32"/>
                  <a:pt x="507" y="39"/>
                  <a:pt x="510" y="42"/>
                </a:cubicBezTo>
                <a:lnTo>
                  <a:pt x="512" y="36"/>
                </a:lnTo>
                <a:close/>
                <a:moveTo>
                  <a:pt x="429" y="93"/>
                </a:moveTo>
                <a:cubicBezTo>
                  <a:pt x="429" y="96"/>
                  <a:pt x="431" y="98"/>
                  <a:pt x="434" y="98"/>
                </a:cubicBezTo>
                <a:cubicBezTo>
                  <a:pt x="437" y="98"/>
                  <a:pt x="440" y="96"/>
                  <a:pt x="440" y="93"/>
                </a:cubicBezTo>
                <a:cubicBezTo>
                  <a:pt x="440" y="90"/>
                  <a:pt x="437" y="87"/>
                  <a:pt x="434" y="87"/>
                </a:cubicBezTo>
                <a:cubicBezTo>
                  <a:pt x="431" y="87"/>
                  <a:pt x="429" y="90"/>
                  <a:pt x="429" y="93"/>
                </a:cubicBezTo>
                <a:moveTo>
                  <a:pt x="367" y="75"/>
                </a:moveTo>
                <a:cubicBezTo>
                  <a:pt x="367" y="66"/>
                  <a:pt x="374" y="59"/>
                  <a:pt x="386" y="59"/>
                </a:cubicBezTo>
                <a:cubicBezTo>
                  <a:pt x="399" y="59"/>
                  <a:pt x="406" y="66"/>
                  <a:pt x="406" y="75"/>
                </a:cubicBezTo>
                <a:cubicBezTo>
                  <a:pt x="406" y="85"/>
                  <a:pt x="398" y="92"/>
                  <a:pt x="387" y="92"/>
                </a:cubicBezTo>
                <a:cubicBezTo>
                  <a:pt x="374" y="92"/>
                  <a:pt x="367" y="85"/>
                  <a:pt x="367" y="75"/>
                </a:cubicBezTo>
                <a:moveTo>
                  <a:pt x="360" y="75"/>
                </a:moveTo>
                <a:cubicBezTo>
                  <a:pt x="360" y="88"/>
                  <a:pt x="370" y="98"/>
                  <a:pt x="386" y="98"/>
                </a:cubicBezTo>
                <a:cubicBezTo>
                  <a:pt x="396" y="98"/>
                  <a:pt x="402" y="94"/>
                  <a:pt x="406" y="90"/>
                </a:cubicBezTo>
                <a:cubicBezTo>
                  <a:pt x="407" y="97"/>
                  <a:pt x="407" y="97"/>
                  <a:pt x="407" y="97"/>
                </a:cubicBezTo>
                <a:cubicBezTo>
                  <a:pt x="413" y="97"/>
                  <a:pt x="413" y="97"/>
                  <a:pt x="413" y="97"/>
                </a:cubicBezTo>
                <a:cubicBezTo>
                  <a:pt x="413" y="50"/>
                  <a:pt x="413" y="50"/>
                  <a:pt x="413" y="50"/>
                </a:cubicBezTo>
                <a:cubicBezTo>
                  <a:pt x="413" y="36"/>
                  <a:pt x="405" y="26"/>
                  <a:pt x="388" y="26"/>
                </a:cubicBezTo>
                <a:cubicBezTo>
                  <a:pt x="376" y="26"/>
                  <a:pt x="367" y="31"/>
                  <a:pt x="363" y="33"/>
                </a:cubicBezTo>
                <a:cubicBezTo>
                  <a:pt x="366" y="38"/>
                  <a:pt x="366" y="38"/>
                  <a:pt x="366" y="38"/>
                </a:cubicBezTo>
                <a:cubicBezTo>
                  <a:pt x="371" y="35"/>
                  <a:pt x="378" y="32"/>
                  <a:pt x="387" y="32"/>
                </a:cubicBezTo>
                <a:cubicBezTo>
                  <a:pt x="398" y="32"/>
                  <a:pt x="406" y="38"/>
                  <a:pt x="406" y="50"/>
                </a:cubicBezTo>
                <a:cubicBezTo>
                  <a:pt x="406" y="60"/>
                  <a:pt x="406" y="60"/>
                  <a:pt x="406" y="60"/>
                </a:cubicBezTo>
                <a:cubicBezTo>
                  <a:pt x="403" y="57"/>
                  <a:pt x="396" y="53"/>
                  <a:pt x="386" y="53"/>
                </a:cubicBezTo>
                <a:cubicBezTo>
                  <a:pt x="371" y="53"/>
                  <a:pt x="360" y="62"/>
                  <a:pt x="360" y="75"/>
                </a:cubicBezTo>
                <a:moveTo>
                  <a:pt x="338" y="62"/>
                </a:moveTo>
                <a:cubicBezTo>
                  <a:pt x="338" y="79"/>
                  <a:pt x="328" y="92"/>
                  <a:pt x="312" y="92"/>
                </a:cubicBezTo>
                <a:cubicBezTo>
                  <a:pt x="297" y="92"/>
                  <a:pt x="286" y="80"/>
                  <a:pt x="286" y="62"/>
                </a:cubicBezTo>
                <a:cubicBezTo>
                  <a:pt x="286" y="45"/>
                  <a:pt x="297" y="32"/>
                  <a:pt x="312" y="32"/>
                </a:cubicBezTo>
                <a:cubicBezTo>
                  <a:pt x="326" y="32"/>
                  <a:pt x="338" y="43"/>
                  <a:pt x="338" y="62"/>
                </a:cubicBezTo>
                <a:moveTo>
                  <a:pt x="345" y="0"/>
                </a:moveTo>
                <a:cubicBezTo>
                  <a:pt x="338" y="0"/>
                  <a:pt x="338" y="0"/>
                  <a:pt x="338" y="0"/>
                </a:cubicBezTo>
                <a:cubicBezTo>
                  <a:pt x="338" y="41"/>
                  <a:pt x="338" y="41"/>
                  <a:pt x="338" y="41"/>
                </a:cubicBezTo>
                <a:cubicBezTo>
                  <a:pt x="336" y="37"/>
                  <a:pt x="327" y="26"/>
                  <a:pt x="312" y="26"/>
                </a:cubicBezTo>
                <a:cubicBezTo>
                  <a:pt x="292" y="26"/>
                  <a:pt x="279" y="41"/>
                  <a:pt x="279" y="62"/>
                </a:cubicBezTo>
                <a:cubicBezTo>
                  <a:pt x="279" y="83"/>
                  <a:pt x="293" y="98"/>
                  <a:pt x="312" y="98"/>
                </a:cubicBezTo>
                <a:cubicBezTo>
                  <a:pt x="329" y="98"/>
                  <a:pt x="336" y="87"/>
                  <a:pt x="338" y="84"/>
                </a:cubicBezTo>
                <a:cubicBezTo>
                  <a:pt x="338" y="97"/>
                  <a:pt x="338" y="97"/>
                  <a:pt x="338" y="97"/>
                </a:cubicBezTo>
                <a:cubicBezTo>
                  <a:pt x="345" y="97"/>
                  <a:pt x="345" y="97"/>
                  <a:pt x="345" y="97"/>
                </a:cubicBezTo>
                <a:lnTo>
                  <a:pt x="345" y="0"/>
                </a:lnTo>
                <a:close/>
                <a:moveTo>
                  <a:pt x="219" y="75"/>
                </a:moveTo>
                <a:cubicBezTo>
                  <a:pt x="219" y="66"/>
                  <a:pt x="227" y="59"/>
                  <a:pt x="239" y="59"/>
                </a:cubicBezTo>
                <a:cubicBezTo>
                  <a:pt x="251" y="59"/>
                  <a:pt x="259" y="66"/>
                  <a:pt x="259" y="75"/>
                </a:cubicBezTo>
                <a:cubicBezTo>
                  <a:pt x="259" y="85"/>
                  <a:pt x="251" y="92"/>
                  <a:pt x="239" y="92"/>
                </a:cubicBezTo>
                <a:cubicBezTo>
                  <a:pt x="227" y="92"/>
                  <a:pt x="219" y="85"/>
                  <a:pt x="219" y="75"/>
                </a:cubicBezTo>
                <a:moveTo>
                  <a:pt x="212" y="75"/>
                </a:moveTo>
                <a:cubicBezTo>
                  <a:pt x="212" y="88"/>
                  <a:pt x="223" y="98"/>
                  <a:pt x="239" y="98"/>
                </a:cubicBezTo>
                <a:cubicBezTo>
                  <a:pt x="249" y="98"/>
                  <a:pt x="255" y="94"/>
                  <a:pt x="258" y="90"/>
                </a:cubicBezTo>
                <a:cubicBezTo>
                  <a:pt x="260" y="97"/>
                  <a:pt x="260" y="97"/>
                  <a:pt x="260" y="97"/>
                </a:cubicBezTo>
                <a:cubicBezTo>
                  <a:pt x="265" y="97"/>
                  <a:pt x="265" y="97"/>
                  <a:pt x="265" y="97"/>
                </a:cubicBezTo>
                <a:cubicBezTo>
                  <a:pt x="265" y="50"/>
                  <a:pt x="265" y="50"/>
                  <a:pt x="265" y="50"/>
                </a:cubicBezTo>
                <a:cubicBezTo>
                  <a:pt x="265" y="36"/>
                  <a:pt x="257" y="26"/>
                  <a:pt x="240" y="26"/>
                </a:cubicBezTo>
                <a:cubicBezTo>
                  <a:pt x="228" y="26"/>
                  <a:pt x="219" y="31"/>
                  <a:pt x="215" y="33"/>
                </a:cubicBezTo>
                <a:cubicBezTo>
                  <a:pt x="218" y="38"/>
                  <a:pt x="218" y="38"/>
                  <a:pt x="218" y="38"/>
                </a:cubicBezTo>
                <a:cubicBezTo>
                  <a:pt x="223" y="35"/>
                  <a:pt x="230" y="32"/>
                  <a:pt x="240" y="32"/>
                </a:cubicBezTo>
                <a:cubicBezTo>
                  <a:pt x="251" y="32"/>
                  <a:pt x="258" y="38"/>
                  <a:pt x="258" y="50"/>
                </a:cubicBezTo>
                <a:cubicBezTo>
                  <a:pt x="258" y="60"/>
                  <a:pt x="258" y="60"/>
                  <a:pt x="258" y="60"/>
                </a:cubicBezTo>
                <a:cubicBezTo>
                  <a:pt x="255" y="57"/>
                  <a:pt x="248" y="53"/>
                  <a:pt x="239" y="53"/>
                </a:cubicBezTo>
                <a:cubicBezTo>
                  <a:pt x="223" y="53"/>
                  <a:pt x="212" y="62"/>
                  <a:pt x="212" y="75"/>
                </a:cubicBezTo>
                <a:moveTo>
                  <a:pt x="203" y="26"/>
                </a:moveTo>
                <a:cubicBezTo>
                  <a:pt x="192" y="26"/>
                  <a:pt x="184" y="33"/>
                  <a:pt x="182" y="40"/>
                </a:cubicBezTo>
                <a:cubicBezTo>
                  <a:pt x="182" y="28"/>
                  <a:pt x="182" y="28"/>
                  <a:pt x="182" y="28"/>
                </a:cubicBezTo>
                <a:cubicBezTo>
                  <a:pt x="175" y="28"/>
                  <a:pt x="175" y="28"/>
                  <a:pt x="175" y="28"/>
                </a:cubicBezTo>
                <a:cubicBezTo>
                  <a:pt x="175" y="97"/>
                  <a:pt x="175" y="97"/>
                  <a:pt x="175" y="97"/>
                </a:cubicBezTo>
                <a:cubicBezTo>
                  <a:pt x="182" y="97"/>
                  <a:pt x="182" y="97"/>
                  <a:pt x="182" y="97"/>
                </a:cubicBezTo>
                <a:cubicBezTo>
                  <a:pt x="182" y="60"/>
                  <a:pt x="182" y="60"/>
                  <a:pt x="182" y="60"/>
                </a:cubicBezTo>
                <a:cubicBezTo>
                  <a:pt x="182" y="46"/>
                  <a:pt x="186" y="32"/>
                  <a:pt x="203" y="32"/>
                </a:cubicBezTo>
                <a:lnTo>
                  <a:pt x="203" y="26"/>
                </a:lnTo>
                <a:close/>
                <a:moveTo>
                  <a:pt x="148" y="97"/>
                </a:moveTo>
                <a:cubicBezTo>
                  <a:pt x="155" y="97"/>
                  <a:pt x="155" y="97"/>
                  <a:pt x="155" y="97"/>
                </a:cubicBezTo>
                <a:cubicBezTo>
                  <a:pt x="155" y="0"/>
                  <a:pt x="155" y="0"/>
                  <a:pt x="155" y="0"/>
                </a:cubicBezTo>
                <a:cubicBezTo>
                  <a:pt x="148" y="0"/>
                  <a:pt x="148" y="0"/>
                  <a:pt x="148" y="0"/>
                </a:cubicBezTo>
                <a:lnTo>
                  <a:pt x="148" y="97"/>
                </a:lnTo>
                <a:close/>
                <a:moveTo>
                  <a:pt x="75" y="57"/>
                </a:moveTo>
                <a:cubicBezTo>
                  <a:pt x="77" y="41"/>
                  <a:pt x="89" y="32"/>
                  <a:pt x="101" y="32"/>
                </a:cubicBezTo>
                <a:cubicBezTo>
                  <a:pt x="114" y="32"/>
                  <a:pt x="126" y="40"/>
                  <a:pt x="127" y="57"/>
                </a:cubicBezTo>
                <a:lnTo>
                  <a:pt x="75" y="57"/>
                </a:lnTo>
                <a:close/>
                <a:moveTo>
                  <a:pt x="68" y="62"/>
                </a:moveTo>
                <a:cubicBezTo>
                  <a:pt x="68" y="84"/>
                  <a:pt x="83" y="98"/>
                  <a:pt x="103" y="98"/>
                </a:cubicBezTo>
                <a:cubicBezTo>
                  <a:pt x="118" y="98"/>
                  <a:pt x="127" y="91"/>
                  <a:pt x="131" y="83"/>
                </a:cubicBezTo>
                <a:cubicBezTo>
                  <a:pt x="127" y="80"/>
                  <a:pt x="127" y="80"/>
                  <a:pt x="127" y="80"/>
                </a:cubicBezTo>
                <a:cubicBezTo>
                  <a:pt x="123" y="86"/>
                  <a:pt x="116" y="92"/>
                  <a:pt x="103" y="92"/>
                </a:cubicBezTo>
                <a:cubicBezTo>
                  <a:pt x="87" y="92"/>
                  <a:pt x="75" y="82"/>
                  <a:pt x="75" y="63"/>
                </a:cubicBezTo>
                <a:cubicBezTo>
                  <a:pt x="134" y="63"/>
                  <a:pt x="134" y="63"/>
                  <a:pt x="134" y="63"/>
                </a:cubicBezTo>
                <a:cubicBezTo>
                  <a:pt x="134" y="60"/>
                  <a:pt x="134" y="60"/>
                  <a:pt x="134" y="60"/>
                </a:cubicBezTo>
                <a:cubicBezTo>
                  <a:pt x="134" y="41"/>
                  <a:pt x="121" y="26"/>
                  <a:pt x="101" y="26"/>
                </a:cubicBezTo>
                <a:cubicBezTo>
                  <a:pt x="84" y="26"/>
                  <a:pt x="68" y="40"/>
                  <a:pt x="68" y="62"/>
                </a:cubicBezTo>
                <a:moveTo>
                  <a:pt x="34" y="97"/>
                </a:moveTo>
                <a:cubicBezTo>
                  <a:pt x="62" y="28"/>
                  <a:pt x="62" y="28"/>
                  <a:pt x="62" y="28"/>
                </a:cubicBezTo>
                <a:cubicBezTo>
                  <a:pt x="55" y="28"/>
                  <a:pt x="55" y="28"/>
                  <a:pt x="55" y="28"/>
                </a:cubicBezTo>
                <a:cubicBezTo>
                  <a:pt x="31" y="89"/>
                  <a:pt x="31" y="89"/>
                  <a:pt x="31" y="89"/>
                </a:cubicBezTo>
                <a:cubicBezTo>
                  <a:pt x="7" y="28"/>
                  <a:pt x="7" y="28"/>
                  <a:pt x="7" y="28"/>
                </a:cubicBezTo>
                <a:cubicBezTo>
                  <a:pt x="0" y="28"/>
                  <a:pt x="0" y="28"/>
                  <a:pt x="0" y="28"/>
                </a:cubicBezTo>
                <a:cubicBezTo>
                  <a:pt x="27" y="97"/>
                  <a:pt x="27" y="97"/>
                  <a:pt x="27" y="97"/>
                </a:cubicBezTo>
                <a:lnTo>
                  <a:pt x="34" y="97"/>
                </a:lnTo>
                <a:close/>
              </a:path>
            </a:pathLst>
          </a:custGeom>
          <a:solidFill>
            <a:schemeClr val="tx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811737491"/>
      </p:ext>
    </p:extLst>
  </p:cSld>
  <p:clrMapOvr>
    <a:masterClrMapping/>
  </p:clrMapOvr>
  <p:transition spd="slow">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80" name="Group 79"/>
          <p:cNvGrpSpPr/>
          <p:nvPr userDrawn="1"/>
        </p:nvGrpSpPr>
        <p:grpSpPr>
          <a:xfrm>
            <a:off x="0" y="-3175"/>
            <a:ext cx="10673334" cy="6012089"/>
            <a:chOff x="0" y="-3175"/>
            <a:chExt cx="12192000" cy="6867525"/>
          </a:xfrm>
        </p:grpSpPr>
        <p:grpSp>
          <p:nvGrpSpPr>
            <p:cNvPr id="81" name="Group 80"/>
            <p:cNvGrpSpPr/>
            <p:nvPr userDrawn="1"/>
          </p:nvGrpSpPr>
          <p:grpSpPr>
            <a:xfrm>
              <a:off x="0" y="-3175"/>
              <a:ext cx="12192000" cy="6867525"/>
              <a:chOff x="0" y="-3175"/>
              <a:chExt cx="12192000" cy="6867525"/>
            </a:xfrm>
          </p:grpSpPr>
          <p:sp>
            <p:nvSpPr>
              <p:cNvPr id="83" name="AutoShape 58"/>
              <p:cNvSpPr>
                <a:spLocks noChangeAspect="1" noChangeArrowheads="1" noTextEdit="1"/>
              </p:cNvSpPr>
              <p:nvPr userDrawn="1"/>
            </p:nvSpPr>
            <p:spPr bwMode="auto">
              <a:xfrm>
                <a:off x="0" y="-3175"/>
                <a:ext cx="12192000" cy="68643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4" name="Freeform 60"/>
              <p:cNvSpPr>
                <a:spLocks/>
              </p:cNvSpPr>
              <p:nvPr userDrawn="1"/>
            </p:nvSpPr>
            <p:spPr bwMode="auto">
              <a:xfrm>
                <a:off x="3176" y="1"/>
                <a:ext cx="12185650" cy="6864349"/>
              </a:xfrm>
              <a:custGeom>
                <a:avLst/>
                <a:gdLst>
                  <a:gd name="T0" fmla="*/ 2620 w 7676"/>
                  <a:gd name="T1" fmla="*/ 0 h 4324"/>
                  <a:gd name="T2" fmla="*/ 3866 w 7676"/>
                  <a:gd name="T3" fmla="*/ 2987 h 4324"/>
                  <a:gd name="T4" fmla="*/ 0 w 7676"/>
                  <a:gd name="T5" fmla="*/ 2068 h 4324"/>
                  <a:gd name="T6" fmla="*/ 0 w 7676"/>
                  <a:gd name="T7" fmla="*/ 4324 h 4324"/>
                  <a:gd name="T8" fmla="*/ 7676 w 7676"/>
                  <a:gd name="T9" fmla="*/ 4324 h 4324"/>
                  <a:gd name="T10" fmla="*/ 7676 w 7676"/>
                  <a:gd name="T11" fmla="*/ 0 h 4324"/>
                  <a:gd name="T12" fmla="*/ 2620 w 7676"/>
                  <a:gd name="T13" fmla="*/ 0 h 4324"/>
                </a:gdLst>
                <a:ahLst/>
                <a:cxnLst>
                  <a:cxn ang="0">
                    <a:pos x="T0" y="T1"/>
                  </a:cxn>
                  <a:cxn ang="0">
                    <a:pos x="T2" y="T3"/>
                  </a:cxn>
                  <a:cxn ang="0">
                    <a:pos x="T4" y="T5"/>
                  </a:cxn>
                  <a:cxn ang="0">
                    <a:pos x="T6" y="T7"/>
                  </a:cxn>
                  <a:cxn ang="0">
                    <a:pos x="T8" y="T9"/>
                  </a:cxn>
                  <a:cxn ang="0">
                    <a:pos x="T10" y="T11"/>
                  </a:cxn>
                  <a:cxn ang="0">
                    <a:pos x="T12" y="T13"/>
                  </a:cxn>
                </a:cxnLst>
                <a:rect l="0" t="0" r="r" b="b"/>
                <a:pathLst>
                  <a:path w="7676" h="4324">
                    <a:moveTo>
                      <a:pt x="2620" y="0"/>
                    </a:moveTo>
                    <a:lnTo>
                      <a:pt x="3866" y="2987"/>
                    </a:lnTo>
                    <a:lnTo>
                      <a:pt x="0" y="2068"/>
                    </a:lnTo>
                    <a:lnTo>
                      <a:pt x="0" y="4324"/>
                    </a:lnTo>
                    <a:lnTo>
                      <a:pt x="7676" y="4324"/>
                    </a:lnTo>
                    <a:lnTo>
                      <a:pt x="7676" y="0"/>
                    </a:lnTo>
                    <a:lnTo>
                      <a:pt x="262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5" name="Freeform 61"/>
              <p:cNvSpPr>
                <a:spLocks/>
              </p:cNvSpPr>
              <p:nvPr userDrawn="1"/>
            </p:nvSpPr>
            <p:spPr bwMode="auto">
              <a:xfrm>
                <a:off x="3144845" y="4029075"/>
                <a:ext cx="2989255" cy="1700213"/>
              </a:xfrm>
              <a:custGeom>
                <a:avLst/>
                <a:gdLst>
                  <a:gd name="T0" fmla="*/ 44 w 1874"/>
                  <a:gd name="T1" fmla="*/ 0 h 1071"/>
                  <a:gd name="T2" fmla="*/ 1874 w 1874"/>
                  <a:gd name="T3" fmla="*/ 447 h 1071"/>
                  <a:gd name="T4" fmla="*/ 276 w 1874"/>
                  <a:gd name="T5" fmla="*/ 1071 h 1071"/>
                  <a:gd name="T6" fmla="*/ 0 w 1874"/>
                  <a:gd name="T7" fmla="*/ 102 h 1071"/>
                  <a:gd name="T8" fmla="*/ 44 w 1874"/>
                  <a:gd name="T9" fmla="*/ 0 h 1071"/>
                  <a:gd name="connsiteX0" fmla="*/ 283 w 10048"/>
                  <a:gd name="connsiteY0" fmla="*/ 0 h 10000"/>
                  <a:gd name="connsiteX1" fmla="*/ 10048 w 10048"/>
                  <a:gd name="connsiteY1" fmla="*/ 4174 h 10000"/>
                  <a:gd name="connsiteX2" fmla="*/ 1521 w 10048"/>
                  <a:gd name="connsiteY2" fmla="*/ 10000 h 10000"/>
                  <a:gd name="connsiteX3" fmla="*/ 0 w 10048"/>
                  <a:gd name="connsiteY3" fmla="*/ 1134 h 10000"/>
                  <a:gd name="connsiteX4" fmla="*/ 283 w 1004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8" h="10000">
                    <a:moveTo>
                      <a:pt x="283" y="0"/>
                    </a:moveTo>
                    <a:lnTo>
                      <a:pt x="10048" y="4174"/>
                    </a:lnTo>
                    <a:lnTo>
                      <a:pt x="1521" y="10000"/>
                    </a:lnTo>
                    <a:lnTo>
                      <a:pt x="0" y="1134"/>
                    </a:lnTo>
                    <a:cubicBezTo>
                      <a:pt x="94" y="756"/>
                      <a:pt x="189" y="378"/>
                      <a:pt x="283" y="0"/>
                    </a:cubicBezTo>
                    <a:close/>
                  </a:path>
                </a:pathLst>
              </a:custGeom>
              <a:solidFill>
                <a:srgbClr val="C08FC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62"/>
              <p:cNvSpPr>
                <a:spLocks/>
              </p:cNvSpPr>
              <p:nvPr userDrawn="1"/>
            </p:nvSpPr>
            <p:spPr bwMode="auto">
              <a:xfrm>
                <a:off x="2286000" y="5716588"/>
                <a:ext cx="1612900" cy="928688"/>
              </a:xfrm>
              <a:custGeom>
                <a:avLst/>
                <a:gdLst>
                  <a:gd name="T0" fmla="*/ 0 w 1016"/>
                  <a:gd name="T1" fmla="*/ 333 h 585"/>
                  <a:gd name="T2" fmla="*/ 1016 w 1016"/>
                  <a:gd name="T3" fmla="*/ 585 h 585"/>
                  <a:gd name="T4" fmla="*/ 840 w 1016"/>
                  <a:gd name="T5" fmla="*/ 0 h 585"/>
                  <a:gd name="T6" fmla="*/ 0 w 1016"/>
                  <a:gd name="T7" fmla="*/ 333 h 585"/>
                </a:gdLst>
                <a:ahLst/>
                <a:cxnLst>
                  <a:cxn ang="0">
                    <a:pos x="T0" y="T1"/>
                  </a:cxn>
                  <a:cxn ang="0">
                    <a:pos x="T2" y="T3"/>
                  </a:cxn>
                  <a:cxn ang="0">
                    <a:pos x="T4" y="T5"/>
                  </a:cxn>
                  <a:cxn ang="0">
                    <a:pos x="T6" y="T7"/>
                  </a:cxn>
                </a:cxnLst>
                <a:rect l="0" t="0" r="r" b="b"/>
                <a:pathLst>
                  <a:path w="1016" h="585">
                    <a:moveTo>
                      <a:pt x="0" y="333"/>
                    </a:moveTo>
                    <a:lnTo>
                      <a:pt x="1016" y="585"/>
                    </a:lnTo>
                    <a:lnTo>
                      <a:pt x="840" y="0"/>
                    </a:lnTo>
                    <a:lnTo>
                      <a:pt x="0" y="333"/>
                    </a:lnTo>
                    <a:close/>
                  </a:path>
                </a:pathLst>
              </a:custGeom>
              <a:solidFill>
                <a:srgbClr val="CFA9C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63"/>
              <p:cNvSpPr>
                <a:spLocks/>
              </p:cNvSpPr>
              <p:nvPr userDrawn="1"/>
            </p:nvSpPr>
            <p:spPr bwMode="auto">
              <a:xfrm>
                <a:off x="2286000" y="4191000"/>
                <a:ext cx="1333500" cy="2054225"/>
              </a:xfrm>
              <a:custGeom>
                <a:avLst/>
                <a:gdLst>
                  <a:gd name="T0" fmla="*/ 550 w 840"/>
                  <a:gd name="T1" fmla="*/ 0 h 1294"/>
                  <a:gd name="T2" fmla="*/ 0 w 840"/>
                  <a:gd name="T3" fmla="*/ 1294 h 1294"/>
                  <a:gd name="T4" fmla="*/ 840 w 840"/>
                  <a:gd name="T5" fmla="*/ 965 h 1294"/>
                  <a:gd name="T6" fmla="*/ 550 w 840"/>
                  <a:gd name="T7" fmla="*/ 0 h 1294"/>
                </a:gdLst>
                <a:ahLst/>
                <a:cxnLst>
                  <a:cxn ang="0">
                    <a:pos x="T0" y="T1"/>
                  </a:cxn>
                  <a:cxn ang="0">
                    <a:pos x="T2" y="T3"/>
                  </a:cxn>
                  <a:cxn ang="0">
                    <a:pos x="T4" y="T5"/>
                  </a:cxn>
                  <a:cxn ang="0">
                    <a:pos x="T6" y="T7"/>
                  </a:cxn>
                </a:cxnLst>
                <a:rect l="0" t="0" r="r" b="b"/>
                <a:pathLst>
                  <a:path w="840" h="1294">
                    <a:moveTo>
                      <a:pt x="550" y="0"/>
                    </a:moveTo>
                    <a:lnTo>
                      <a:pt x="0" y="1294"/>
                    </a:lnTo>
                    <a:lnTo>
                      <a:pt x="840" y="965"/>
                    </a:lnTo>
                    <a:lnTo>
                      <a:pt x="550" y="0"/>
                    </a:lnTo>
                    <a:close/>
                  </a:path>
                </a:pathLst>
              </a:custGeom>
              <a:solidFill>
                <a:srgbClr val="B881B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2" name="Freeform 64"/>
            <p:cNvSpPr>
              <a:spLocks/>
            </p:cNvSpPr>
            <p:nvPr userDrawn="1"/>
          </p:nvSpPr>
          <p:spPr bwMode="auto">
            <a:xfrm>
              <a:off x="0" y="-3175"/>
              <a:ext cx="6134100" cy="4741863"/>
            </a:xfrm>
            <a:custGeom>
              <a:avLst/>
              <a:gdLst>
                <a:gd name="T0" fmla="*/ 3864 w 3864"/>
                <a:gd name="T1" fmla="*/ 2987 h 2987"/>
                <a:gd name="T2" fmla="*/ 0 w 3864"/>
                <a:gd name="T3" fmla="*/ 2068 h 2987"/>
                <a:gd name="T4" fmla="*/ 0 w 3864"/>
                <a:gd name="T5" fmla="*/ 0 h 2987"/>
                <a:gd name="T6" fmla="*/ 2618 w 3864"/>
                <a:gd name="T7" fmla="*/ 0 h 2987"/>
                <a:gd name="T8" fmla="*/ 3864 w 3864"/>
                <a:gd name="T9" fmla="*/ 2987 h 2987"/>
              </a:gdLst>
              <a:ahLst/>
              <a:cxnLst>
                <a:cxn ang="0">
                  <a:pos x="T0" y="T1"/>
                </a:cxn>
                <a:cxn ang="0">
                  <a:pos x="T2" y="T3"/>
                </a:cxn>
                <a:cxn ang="0">
                  <a:pos x="T4" y="T5"/>
                </a:cxn>
                <a:cxn ang="0">
                  <a:pos x="T6" y="T7"/>
                </a:cxn>
                <a:cxn ang="0">
                  <a:pos x="T8" y="T9"/>
                </a:cxn>
              </a:cxnLst>
              <a:rect l="0" t="0" r="r" b="b"/>
              <a:pathLst>
                <a:path w="3864" h="2987">
                  <a:moveTo>
                    <a:pt x="3864" y="2987"/>
                  </a:moveTo>
                  <a:lnTo>
                    <a:pt x="0" y="2068"/>
                  </a:lnTo>
                  <a:lnTo>
                    <a:pt x="0" y="0"/>
                  </a:lnTo>
                  <a:lnTo>
                    <a:pt x="2618" y="0"/>
                  </a:lnTo>
                  <a:lnTo>
                    <a:pt x="3864" y="298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3" name="Text Box 3"/>
          <p:cNvSpPr txBox="1">
            <a:spLocks noChangeArrowheads="1"/>
          </p:cNvSpPr>
          <p:nvPr userDrawn="1"/>
        </p:nvSpPr>
        <p:spPr bwMode="blackWhite">
          <a:xfrm>
            <a:off x="319661" y="5800823"/>
            <a:ext cx="5066594" cy="1401519"/>
          </a:xfrm>
          <a:prstGeom prst="rect">
            <a:avLst/>
          </a:prstGeom>
          <a:noFill/>
          <a:ln w="12700">
            <a:noFill/>
            <a:miter lim="800000"/>
            <a:headEnd type="none" w="sm" len="sm"/>
            <a:tailEnd type="none" w="sm" len="sm"/>
          </a:ln>
          <a:effectLst/>
        </p:spPr>
        <p:txBody>
          <a:bodyPr vert="horz" wrap="square" lIns="0" tIns="0" rIns="0" bIns="0" numCol="1" anchor="ctr" anchorCtr="0" compatLnSpc="1">
            <a:prstTxWarp prst="textNoShape">
              <a:avLst/>
            </a:prstTxWarp>
            <a:noAutofit/>
          </a:bodyPr>
          <a:lstStyle/>
          <a:p>
            <a:pPr algn="l" defTabSz="913924" eaLnBrk="0" hangingPunct="0"/>
            <a:r>
              <a:rPr lang="en-AU" sz="600" dirty="0">
                <a:solidFill>
                  <a:schemeClr val="bg1"/>
                </a:solidFill>
                <a:cs typeface="Segoe UI" pitchFamily="34" charset="0"/>
              </a:rPr>
              <a:t>© 2017</a:t>
            </a:r>
            <a:r>
              <a:rPr lang="en-AU" sz="600" baseline="0" dirty="0">
                <a:solidFill>
                  <a:schemeClr val="bg1"/>
                </a:solidFill>
                <a:cs typeface="Segoe UI" pitchFamily="34" charset="0"/>
              </a:rPr>
              <a:t> </a:t>
            </a:r>
            <a:r>
              <a:rPr lang="en-AU" sz="600" dirty="0">
                <a:solidFill>
                  <a:schemeClr val="bg1"/>
                </a:solidFill>
                <a:cs typeface="Segoe UI" pitchFamily="34" charset="0"/>
              </a:rPr>
              <a:t> Velrada Capital Pty Ltd. All rights reserved.</a:t>
            </a:r>
            <a:r>
              <a:rPr lang="en-AU" sz="600" baseline="0" dirty="0">
                <a:solidFill>
                  <a:schemeClr val="bg1"/>
                </a:solidFill>
                <a:cs typeface="Segoe UI" pitchFamily="34" charset="0"/>
              </a:rPr>
              <a:t> </a:t>
            </a:r>
            <a:r>
              <a:rPr lang="en-AU" sz="600" dirty="0">
                <a:solidFill>
                  <a:schemeClr val="bg1"/>
                </a:solidFill>
                <a:cs typeface="Segoe UI" pitchFamily="34" charset="0"/>
              </a:rPr>
              <a:t>The information contained herein is for informational purposes only and represents the current view of Velrada Capital as at the date of the presentation.  Velrada Capital cannot guarantee the accuracy of any information provided after the date of this presentation. Velrada Capital makes no warranties, express, implied or statutory as to the information in this presentation.</a:t>
            </a:r>
          </a:p>
        </p:txBody>
      </p:sp>
      <p:sp>
        <p:nvSpPr>
          <p:cNvPr id="15" name="Subtitle 2"/>
          <p:cNvSpPr txBox="1">
            <a:spLocks/>
          </p:cNvSpPr>
          <p:nvPr userDrawn="1"/>
        </p:nvSpPr>
        <p:spPr>
          <a:xfrm>
            <a:off x="319661" y="3064237"/>
            <a:ext cx="5768707" cy="1034782"/>
          </a:xfrm>
          <a:prstGeom prst="rect">
            <a:avLst/>
          </a:prstGeom>
        </p:spPr>
        <p:txBody>
          <a:bodyPr>
            <a:norm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endParaRPr lang="en-US" sz="2800" dirty="0">
              <a:solidFill>
                <a:schemeClr val="bg1"/>
              </a:solidFill>
            </a:endParaRPr>
          </a:p>
        </p:txBody>
      </p:sp>
      <p:grpSp>
        <p:nvGrpSpPr>
          <p:cNvPr id="2" name="Group 1"/>
          <p:cNvGrpSpPr/>
          <p:nvPr userDrawn="1"/>
        </p:nvGrpSpPr>
        <p:grpSpPr>
          <a:xfrm>
            <a:off x="6096000" y="2579252"/>
            <a:ext cx="5151043" cy="2435986"/>
            <a:chOff x="6314807" y="1232577"/>
            <a:chExt cx="5151043" cy="2435986"/>
          </a:xfrm>
        </p:grpSpPr>
        <p:grpSp>
          <p:nvGrpSpPr>
            <p:cNvPr id="17" name="Group 16"/>
            <p:cNvGrpSpPr/>
            <p:nvPr userDrawn="1"/>
          </p:nvGrpSpPr>
          <p:grpSpPr>
            <a:xfrm>
              <a:off x="6314807" y="1232577"/>
              <a:ext cx="2971796" cy="519233"/>
              <a:chOff x="391261" y="3631314"/>
              <a:chExt cx="4322465" cy="755222"/>
            </a:xfrm>
          </p:grpSpPr>
          <p:grpSp>
            <p:nvGrpSpPr>
              <p:cNvPr id="18" name="Group 17"/>
              <p:cNvGrpSpPr/>
              <p:nvPr userDrawn="1"/>
            </p:nvGrpSpPr>
            <p:grpSpPr>
              <a:xfrm>
                <a:off x="391261" y="3631314"/>
                <a:ext cx="755222" cy="755222"/>
                <a:chOff x="-2529227" y="0"/>
                <a:chExt cx="980334" cy="980334"/>
              </a:xfrm>
            </p:grpSpPr>
            <p:sp>
              <p:nvSpPr>
                <p:cNvPr id="20" name="Oval 102"/>
                <p:cNvSpPr>
                  <a:spLocks noChangeArrowheads="1"/>
                </p:cNvSpPr>
                <p:nvPr userDrawn="1"/>
              </p:nvSpPr>
              <p:spPr bwMode="auto">
                <a:xfrm>
                  <a:off x="-2529227" y="0"/>
                  <a:ext cx="980334" cy="98033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21" name="Oval 113"/>
                <p:cNvSpPr>
                  <a:spLocks noChangeArrowheads="1"/>
                </p:cNvSpPr>
                <p:nvPr userDrawn="1"/>
              </p:nvSpPr>
              <p:spPr bwMode="auto">
                <a:xfrm>
                  <a:off x="-2149254" y="334377"/>
                  <a:ext cx="60796" cy="5319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22" name="Oval 114"/>
                <p:cNvSpPr>
                  <a:spLocks noChangeArrowheads="1"/>
                </p:cNvSpPr>
                <p:nvPr userDrawn="1"/>
              </p:nvSpPr>
              <p:spPr bwMode="auto">
                <a:xfrm>
                  <a:off x="-2111259" y="402770"/>
                  <a:ext cx="38000" cy="380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23" name="Oval 115"/>
                <p:cNvSpPr>
                  <a:spLocks noChangeArrowheads="1"/>
                </p:cNvSpPr>
                <p:nvPr userDrawn="1"/>
              </p:nvSpPr>
              <p:spPr bwMode="auto">
                <a:xfrm>
                  <a:off x="-2050463" y="357173"/>
                  <a:ext cx="60796" cy="607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24" name="Oval 116"/>
                <p:cNvSpPr>
                  <a:spLocks noChangeArrowheads="1"/>
                </p:cNvSpPr>
                <p:nvPr userDrawn="1"/>
              </p:nvSpPr>
              <p:spPr bwMode="auto">
                <a:xfrm>
                  <a:off x="-1951667" y="243183"/>
                  <a:ext cx="45597" cy="4559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25" name="Oval 117"/>
                <p:cNvSpPr>
                  <a:spLocks noChangeArrowheads="1"/>
                </p:cNvSpPr>
                <p:nvPr userDrawn="1"/>
              </p:nvSpPr>
              <p:spPr bwMode="auto">
                <a:xfrm>
                  <a:off x="-1921269" y="288780"/>
                  <a:ext cx="45597" cy="4559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26" name="Oval 118"/>
                <p:cNvSpPr>
                  <a:spLocks noChangeArrowheads="1"/>
                </p:cNvSpPr>
                <p:nvPr userDrawn="1"/>
              </p:nvSpPr>
              <p:spPr bwMode="auto">
                <a:xfrm>
                  <a:off x="-1875673" y="364775"/>
                  <a:ext cx="53199" cy="4559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27" name="Oval 119"/>
                <p:cNvSpPr>
                  <a:spLocks noChangeArrowheads="1"/>
                </p:cNvSpPr>
                <p:nvPr userDrawn="1"/>
              </p:nvSpPr>
              <p:spPr bwMode="auto">
                <a:xfrm>
                  <a:off x="-1852877" y="676350"/>
                  <a:ext cx="45597" cy="380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28" name="Oval 120"/>
                <p:cNvSpPr>
                  <a:spLocks noChangeArrowheads="1"/>
                </p:cNvSpPr>
                <p:nvPr userDrawn="1"/>
              </p:nvSpPr>
              <p:spPr bwMode="auto">
                <a:xfrm>
                  <a:off x="-2164452" y="638355"/>
                  <a:ext cx="53199" cy="607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29" name="Oval 121"/>
                <p:cNvSpPr>
                  <a:spLocks noChangeArrowheads="1"/>
                </p:cNvSpPr>
                <p:nvPr userDrawn="1"/>
              </p:nvSpPr>
              <p:spPr bwMode="auto">
                <a:xfrm>
                  <a:off x="-2293646" y="562361"/>
                  <a:ext cx="75995" cy="759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30" name="Oval 122"/>
                <p:cNvSpPr>
                  <a:spLocks noChangeArrowheads="1"/>
                </p:cNvSpPr>
                <p:nvPr userDrawn="1"/>
              </p:nvSpPr>
              <p:spPr bwMode="auto">
                <a:xfrm>
                  <a:off x="-1837678" y="547162"/>
                  <a:ext cx="68398" cy="759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31" name="Freeform 123"/>
                <p:cNvSpPr>
                  <a:spLocks/>
                </p:cNvSpPr>
                <p:nvPr userDrawn="1"/>
              </p:nvSpPr>
              <p:spPr bwMode="auto">
                <a:xfrm>
                  <a:off x="-2065662" y="448366"/>
                  <a:ext cx="106393" cy="91194"/>
                </a:xfrm>
                <a:custGeom>
                  <a:avLst/>
                  <a:gdLst>
                    <a:gd name="T0" fmla="*/ 1 w 19"/>
                    <a:gd name="T1" fmla="*/ 0 h 16"/>
                    <a:gd name="T2" fmla="*/ 0 w 19"/>
                    <a:gd name="T3" fmla="*/ 2 h 16"/>
                    <a:gd name="T4" fmla="*/ 18 w 19"/>
                    <a:gd name="T5" fmla="*/ 16 h 16"/>
                    <a:gd name="T6" fmla="*/ 19 w 19"/>
                    <a:gd name="T7" fmla="*/ 14 h 16"/>
                    <a:gd name="T8" fmla="*/ 1 w 19"/>
                    <a:gd name="T9" fmla="*/ 0 h 16"/>
                  </a:gdLst>
                  <a:ahLst/>
                  <a:cxnLst>
                    <a:cxn ang="0">
                      <a:pos x="T0" y="T1"/>
                    </a:cxn>
                    <a:cxn ang="0">
                      <a:pos x="T2" y="T3"/>
                    </a:cxn>
                    <a:cxn ang="0">
                      <a:pos x="T4" y="T5"/>
                    </a:cxn>
                    <a:cxn ang="0">
                      <a:pos x="T6" y="T7"/>
                    </a:cxn>
                    <a:cxn ang="0">
                      <a:pos x="T8" y="T9"/>
                    </a:cxn>
                  </a:cxnLst>
                  <a:rect l="0" t="0" r="r" b="b"/>
                  <a:pathLst>
                    <a:path w="19" h="16">
                      <a:moveTo>
                        <a:pt x="1" y="0"/>
                      </a:moveTo>
                      <a:cubicBezTo>
                        <a:pt x="1" y="1"/>
                        <a:pt x="0" y="1"/>
                        <a:pt x="0" y="2"/>
                      </a:cubicBezTo>
                      <a:cubicBezTo>
                        <a:pt x="5" y="8"/>
                        <a:pt x="11" y="13"/>
                        <a:pt x="18" y="16"/>
                      </a:cubicBezTo>
                      <a:cubicBezTo>
                        <a:pt x="19" y="16"/>
                        <a:pt x="19" y="15"/>
                        <a:pt x="19" y="14"/>
                      </a:cubicBezTo>
                      <a:cubicBezTo>
                        <a:pt x="12" y="11"/>
                        <a:pt x="6" y="6"/>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32" name="Freeform 124"/>
                <p:cNvSpPr>
                  <a:spLocks/>
                </p:cNvSpPr>
                <p:nvPr userDrawn="1"/>
              </p:nvSpPr>
              <p:spPr bwMode="auto">
                <a:xfrm>
                  <a:off x="-1959269" y="539560"/>
                  <a:ext cx="151989" cy="45597"/>
                </a:xfrm>
                <a:custGeom>
                  <a:avLst/>
                  <a:gdLst>
                    <a:gd name="T0" fmla="*/ 0 w 26"/>
                    <a:gd name="T1" fmla="*/ 2 h 9"/>
                    <a:gd name="T2" fmla="*/ 26 w 26"/>
                    <a:gd name="T3" fmla="*/ 9 h 9"/>
                    <a:gd name="T4" fmla="*/ 26 w 26"/>
                    <a:gd name="T5" fmla="*/ 7 h 9"/>
                    <a:gd name="T6" fmla="*/ 1 w 26"/>
                    <a:gd name="T7" fmla="*/ 0 h 9"/>
                    <a:gd name="T8" fmla="*/ 0 w 26"/>
                    <a:gd name="T9" fmla="*/ 2 h 9"/>
                  </a:gdLst>
                  <a:ahLst/>
                  <a:cxnLst>
                    <a:cxn ang="0">
                      <a:pos x="T0" y="T1"/>
                    </a:cxn>
                    <a:cxn ang="0">
                      <a:pos x="T2" y="T3"/>
                    </a:cxn>
                    <a:cxn ang="0">
                      <a:pos x="T4" y="T5"/>
                    </a:cxn>
                    <a:cxn ang="0">
                      <a:pos x="T6" y="T7"/>
                    </a:cxn>
                    <a:cxn ang="0">
                      <a:pos x="T8" y="T9"/>
                    </a:cxn>
                  </a:cxnLst>
                  <a:rect l="0" t="0" r="r" b="b"/>
                  <a:pathLst>
                    <a:path w="26" h="9">
                      <a:moveTo>
                        <a:pt x="0" y="2"/>
                      </a:moveTo>
                      <a:cubicBezTo>
                        <a:pt x="8" y="6"/>
                        <a:pt x="17" y="8"/>
                        <a:pt x="26" y="9"/>
                      </a:cubicBezTo>
                      <a:cubicBezTo>
                        <a:pt x="26" y="9"/>
                        <a:pt x="26" y="8"/>
                        <a:pt x="26" y="7"/>
                      </a:cubicBezTo>
                      <a:cubicBezTo>
                        <a:pt x="17" y="6"/>
                        <a:pt x="8" y="4"/>
                        <a:pt x="1" y="0"/>
                      </a:cubicBezTo>
                      <a:cubicBezTo>
                        <a:pt x="1" y="0"/>
                        <a:pt x="1"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33" name="Freeform 125"/>
                <p:cNvSpPr>
                  <a:spLocks/>
                </p:cNvSpPr>
                <p:nvPr userDrawn="1"/>
              </p:nvSpPr>
              <p:spPr bwMode="auto">
                <a:xfrm>
                  <a:off x="-2096060" y="417968"/>
                  <a:ext cx="22801" cy="30398"/>
                </a:xfrm>
                <a:custGeom>
                  <a:avLst/>
                  <a:gdLst>
                    <a:gd name="T0" fmla="*/ 4 w 4"/>
                    <a:gd name="T1" fmla="*/ 3 h 5"/>
                    <a:gd name="T2" fmla="*/ 2 w 4"/>
                    <a:gd name="T3" fmla="*/ 0 h 5"/>
                    <a:gd name="T4" fmla="*/ 0 w 4"/>
                    <a:gd name="T5" fmla="*/ 1 h 5"/>
                    <a:gd name="T6" fmla="*/ 3 w 4"/>
                    <a:gd name="T7" fmla="*/ 5 h 5"/>
                    <a:gd name="T8" fmla="*/ 4 w 4"/>
                    <a:gd name="T9" fmla="*/ 3 h 5"/>
                  </a:gdLst>
                  <a:ahLst/>
                  <a:cxnLst>
                    <a:cxn ang="0">
                      <a:pos x="T0" y="T1"/>
                    </a:cxn>
                    <a:cxn ang="0">
                      <a:pos x="T2" y="T3"/>
                    </a:cxn>
                    <a:cxn ang="0">
                      <a:pos x="T4" y="T5"/>
                    </a:cxn>
                    <a:cxn ang="0">
                      <a:pos x="T6" y="T7"/>
                    </a:cxn>
                    <a:cxn ang="0">
                      <a:pos x="T8" y="T9"/>
                    </a:cxn>
                  </a:cxnLst>
                  <a:rect l="0" t="0" r="r" b="b"/>
                  <a:pathLst>
                    <a:path w="4" h="5">
                      <a:moveTo>
                        <a:pt x="4" y="3"/>
                      </a:moveTo>
                      <a:cubicBezTo>
                        <a:pt x="3" y="2"/>
                        <a:pt x="2" y="1"/>
                        <a:pt x="2" y="0"/>
                      </a:cubicBezTo>
                      <a:cubicBezTo>
                        <a:pt x="1" y="0"/>
                        <a:pt x="0" y="1"/>
                        <a:pt x="0" y="1"/>
                      </a:cubicBezTo>
                      <a:cubicBezTo>
                        <a:pt x="1" y="2"/>
                        <a:pt x="2" y="3"/>
                        <a:pt x="3" y="5"/>
                      </a:cubicBezTo>
                      <a:cubicBezTo>
                        <a:pt x="3" y="4"/>
                        <a:pt x="3" y="3"/>
                        <a:pt x="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34" name="Freeform 126"/>
                <p:cNvSpPr>
                  <a:spLocks/>
                </p:cNvSpPr>
                <p:nvPr userDrawn="1"/>
              </p:nvSpPr>
              <p:spPr bwMode="auto">
                <a:xfrm>
                  <a:off x="-1799678" y="585157"/>
                  <a:ext cx="45597" cy="7602"/>
                </a:xfrm>
                <a:custGeom>
                  <a:avLst/>
                  <a:gdLst>
                    <a:gd name="T0" fmla="*/ 0 w 7"/>
                    <a:gd name="T1" fmla="*/ 0 h 2"/>
                    <a:gd name="T2" fmla="*/ 0 w 7"/>
                    <a:gd name="T3" fmla="*/ 2 h 2"/>
                    <a:gd name="T4" fmla="*/ 5 w 7"/>
                    <a:gd name="T5" fmla="*/ 2 h 2"/>
                    <a:gd name="T6" fmla="*/ 6 w 7"/>
                    <a:gd name="T7" fmla="*/ 2 h 2"/>
                    <a:gd name="T8" fmla="*/ 7 w 7"/>
                    <a:gd name="T9" fmla="*/ 0 h 2"/>
                    <a:gd name="T10" fmla="*/ 5 w 7"/>
                    <a:gd name="T11" fmla="*/ 0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cubicBezTo>
                        <a:pt x="0" y="0"/>
                        <a:pt x="0" y="1"/>
                        <a:pt x="0" y="2"/>
                      </a:cubicBezTo>
                      <a:cubicBezTo>
                        <a:pt x="2" y="2"/>
                        <a:pt x="3" y="2"/>
                        <a:pt x="5" y="2"/>
                      </a:cubicBezTo>
                      <a:cubicBezTo>
                        <a:pt x="5" y="2"/>
                        <a:pt x="6" y="2"/>
                        <a:pt x="6" y="2"/>
                      </a:cubicBezTo>
                      <a:cubicBezTo>
                        <a:pt x="6" y="1"/>
                        <a:pt x="7" y="0"/>
                        <a:pt x="7" y="0"/>
                      </a:cubicBezTo>
                      <a:cubicBezTo>
                        <a:pt x="6" y="0"/>
                        <a:pt x="6" y="0"/>
                        <a:pt x="5" y="0"/>
                      </a:cubicBezTo>
                      <a:cubicBezTo>
                        <a:pt x="3" y="0"/>
                        <a:pt x="2"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35" name="Freeform 127"/>
                <p:cNvSpPr>
                  <a:spLocks/>
                </p:cNvSpPr>
                <p:nvPr userDrawn="1"/>
              </p:nvSpPr>
              <p:spPr bwMode="auto">
                <a:xfrm>
                  <a:off x="-2308845" y="220382"/>
                  <a:ext cx="334377" cy="197586"/>
                </a:xfrm>
                <a:custGeom>
                  <a:avLst/>
                  <a:gdLst>
                    <a:gd name="T0" fmla="*/ 30 w 57"/>
                    <a:gd name="T1" fmla="*/ 26 h 34"/>
                    <a:gd name="T2" fmla="*/ 35 w 57"/>
                    <a:gd name="T3" fmla="*/ 34 h 34"/>
                    <a:gd name="T4" fmla="*/ 37 w 57"/>
                    <a:gd name="T5" fmla="*/ 33 h 34"/>
                    <a:gd name="T6" fmla="*/ 32 w 57"/>
                    <a:gd name="T7" fmla="*/ 26 h 34"/>
                    <a:gd name="T8" fmla="*/ 57 w 57"/>
                    <a:gd name="T9" fmla="*/ 16 h 34"/>
                    <a:gd name="T10" fmla="*/ 56 w 57"/>
                    <a:gd name="T11" fmla="*/ 14 h 34"/>
                    <a:gd name="T12" fmla="*/ 31 w 57"/>
                    <a:gd name="T13" fmla="*/ 24 h 34"/>
                    <a:gd name="T14" fmla="*/ 26 w 57"/>
                    <a:gd name="T15" fmla="*/ 0 h 34"/>
                    <a:gd name="T16" fmla="*/ 24 w 57"/>
                    <a:gd name="T17" fmla="*/ 1 h 34"/>
                    <a:gd name="T18" fmla="*/ 29 w 57"/>
                    <a:gd name="T19" fmla="*/ 24 h 34"/>
                    <a:gd name="T20" fmla="*/ 15 w 57"/>
                    <a:gd name="T21" fmla="*/ 26 h 34"/>
                    <a:gd name="T22" fmla="*/ 1 w 57"/>
                    <a:gd name="T23" fmla="*/ 25 h 34"/>
                    <a:gd name="T24" fmla="*/ 0 w 57"/>
                    <a:gd name="T25" fmla="*/ 27 h 34"/>
                    <a:gd name="T26" fmla="*/ 15 w 57"/>
                    <a:gd name="T27" fmla="*/ 28 h 34"/>
                    <a:gd name="T28" fmla="*/ 30 w 57"/>
                    <a:gd name="T29"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34">
                      <a:moveTo>
                        <a:pt x="30" y="26"/>
                      </a:moveTo>
                      <a:cubicBezTo>
                        <a:pt x="31" y="29"/>
                        <a:pt x="33" y="32"/>
                        <a:pt x="35" y="34"/>
                      </a:cubicBezTo>
                      <a:cubicBezTo>
                        <a:pt x="35" y="34"/>
                        <a:pt x="36" y="34"/>
                        <a:pt x="37" y="33"/>
                      </a:cubicBezTo>
                      <a:cubicBezTo>
                        <a:pt x="35" y="31"/>
                        <a:pt x="34" y="28"/>
                        <a:pt x="32" y="26"/>
                      </a:cubicBezTo>
                      <a:cubicBezTo>
                        <a:pt x="41" y="24"/>
                        <a:pt x="50" y="20"/>
                        <a:pt x="57" y="16"/>
                      </a:cubicBezTo>
                      <a:cubicBezTo>
                        <a:pt x="57" y="15"/>
                        <a:pt x="57" y="14"/>
                        <a:pt x="56" y="14"/>
                      </a:cubicBezTo>
                      <a:cubicBezTo>
                        <a:pt x="49" y="18"/>
                        <a:pt x="41" y="22"/>
                        <a:pt x="31" y="24"/>
                      </a:cubicBezTo>
                      <a:cubicBezTo>
                        <a:pt x="28" y="17"/>
                        <a:pt x="26" y="9"/>
                        <a:pt x="26" y="0"/>
                      </a:cubicBezTo>
                      <a:cubicBezTo>
                        <a:pt x="25" y="1"/>
                        <a:pt x="25" y="1"/>
                        <a:pt x="24" y="1"/>
                      </a:cubicBezTo>
                      <a:cubicBezTo>
                        <a:pt x="24" y="9"/>
                        <a:pt x="26" y="17"/>
                        <a:pt x="29" y="24"/>
                      </a:cubicBezTo>
                      <a:cubicBezTo>
                        <a:pt x="24" y="25"/>
                        <a:pt x="20" y="26"/>
                        <a:pt x="15" y="26"/>
                      </a:cubicBezTo>
                      <a:cubicBezTo>
                        <a:pt x="10" y="26"/>
                        <a:pt x="6" y="25"/>
                        <a:pt x="1" y="25"/>
                      </a:cubicBezTo>
                      <a:cubicBezTo>
                        <a:pt x="1" y="25"/>
                        <a:pt x="1" y="26"/>
                        <a:pt x="0" y="27"/>
                      </a:cubicBezTo>
                      <a:cubicBezTo>
                        <a:pt x="5" y="27"/>
                        <a:pt x="10" y="28"/>
                        <a:pt x="15" y="28"/>
                      </a:cubicBezTo>
                      <a:cubicBezTo>
                        <a:pt x="20" y="28"/>
                        <a:pt x="25" y="27"/>
                        <a:pt x="3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36" name="Freeform 128"/>
                <p:cNvSpPr>
                  <a:spLocks/>
                </p:cNvSpPr>
                <p:nvPr userDrawn="1"/>
              </p:nvSpPr>
              <p:spPr bwMode="auto">
                <a:xfrm>
                  <a:off x="-1928871" y="227984"/>
                  <a:ext cx="38000" cy="38000"/>
                </a:xfrm>
                <a:custGeom>
                  <a:avLst/>
                  <a:gdLst>
                    <a:gd name="T0" fmla="*/ 0 w 7"/>
                    <a:gd name="T1" fmla="*/ 5 h 6"/>
                    <a:gd name="T2" fmla="*/ 2 w 7"/>
                    <a:gd name="T3" fmla="*/ 6 h 6"/>
                    <a:gd name="T4" fmla="*/ 7 w 7"/>
                    <a:gd name="T5" fmla="*/ 1 h 6"/>
                    <a:gd name="T6" fmla="*/ 5 w 7"/>
                    <a:gd name="T7" fmla="*/ 0 h 6"/>
                    <a:gd name="T8" fmla="*/ 0 w 7"/>
                    <a:gd name="T9" fmla="*/ 5 h 6"/>
                  </a:gdLst>
                  <a:ahLst/>
                  <a:cxnLst>
                    <a:cxn ang="0">
                      <a:pos x="T0" y="T1"/>
                    </a:cxn>
                    <a:cxn ang="0">
                      <a:pos x="T2" y="T3"/>
                    </a:cxn>
                    <a:cxn ang="0">
                      <a:pos x="T4" y="T5"/>
                    </a:cxn>
                    <a:cxn ang="0">
                      <a:pos x="T6" y="T7"/>
                    </a:cxn>
                    <a:cxn ang="0">
                      <a:pos x="T8" y="T9"/>
                    </a:cxn>
                  </a:cxnLst>
                  <a:rect l="0" t="0" r="r" b="b"/>
                  <a:pathLst>
                    <a:path w="7" h="6">
                      <a:moveTo>
                        <a:pt x="0" y="5"/>
                      </a:moveTo>
                      <a:cubicBezTo>
                        <a:pt x="1" y="5"/>
                        <a:pt x="1" y="6"/>
                        <a:pt x="2" y="6"/>
                      </a:cubicBezTo>
                      <a:cubicBezTo>
                        <a:pt x="4" y="5"/>
                        <a:pt x="5" y="3"/>
                        <a:pt x="7" y="1"/>
                      </a:cubicBezTo>
                      <a:cubicBezTo>
                        <a:pt x="6" y="0"/>
                        <a:pt x="6" y="0"/>
                        <a:pt x="5" y="0"/>
                      </a:cubicBezTo>
                      <a:cubicBezTo>
                        <a:pt x="4" y="1"/>
                        <a:pt x="2" y="3"/>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37" name="Freeform 129"/>
                <p:cNvSpPr>
                  <a:spLocks/>
                </p:cNvSpPr>
                <p:nvPr userDrawn="1"/>
              </p:nvSpPr>
              <p:spPr bwMode="auto">
                <a:xfrm>
                  <a:off x="-1974468" y="273581"/>
                  <a:ext cx="45597" cy="30398"/>
                </a:xfrm>
                <a:custGeom>
                  <a:avLst/>
                  <a:gdLst>
                    <a:gd name="T0" fmla="*/ 6 w 8"/>
                    <a:gd name="T1" fmla="*/ 0 h 6"/>
                    <a:gd name="T2" fmla="*/ 0 w 8"/>
                    <a:gd name="T3" fmla="*/ 4 h 6"/>
                    <a:gd name="T4" fmla="*/ 1 w 8"/>
                    <a:gd name="T5" fmla="*/ 6 h 6"/>
                    <a:gd name="T6" fmla="*/ 8 w 8"/>
                    <a:gd name="T7" fmla="*/ 1 h 6"/>
                    <a:gd name="T8" fmla="*/ 6 w 8"/>
                    <a:gd name="T9" fmla="*/ 0 h 6"/>
                  </a:gdLst>
                  <a:ahLst/>
                  <a:cxnLst>
                    <a:cxn ang="0">
                      <a:pos x="T0" y="T1"/>
                    </a:cxn>
                    <a:cxn ang="0">
                      <a:pos x="T2" y="T3"/>
                    </a:cxn>
                    <a:cxn ang="0">
                      <a:pos x="T4" y="T5"/>
                    </a:cxn>
                    <a:cxn ang="0">
                      <a:pos x="T6" y="T7"/>
                    </a:cxn>
                    <a:cxn ang="0">
                      <a:pos x="T8" y="T9"/>
                    </a:cxn>
                  </a:cxnLst>
                  <a:rect l="0" t="0" r="r" b="b"/>
                  <a:pathLst>
                    <a:path w="8" h="6">
                      <a:moveTo>
                        <a:pt x="6" y="0"/>
                      </a:moveTo>
                      <a:cubicBezTo>
                        <a:pt x="4" y="1"/>
                        <a:pt x="2" y="3"/>
                        <a:pt x="0" y="4"/>
                      </a:cubicBezTo>
                      <a:cubicBezTo>
                        <a:pt x="0" y="5"/>
                        <a:pt x="1" y="6"/>
                        <a:pt x="1" y="6"/>
                      </a:cubicBezTo>
                      <a:cubicBezTo>
                        <a:pt x="3" y="5"/>
                        <a:pt x="6" y="3"/>
                        <a:pt x="8" y="1"/>
                      </a:cubicBezTo>
                      <a:cubicBezTo>
                        <a:pt x="7" y="1"/>
                        <a:pt x="7" y="0"/>
                        <a:pt x="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38" name="Freeform 130"/>
                <p:cNvSpPr>
                  <a:spLocks/>
                </p:cNvSpPr>
                <p:nvPr userDrawn="1"/>
              </p:nvSpPr>
              <p:spPr bwMode="auto">
                <a:xfrm>
                  <a:off x="-2012463" y="691549"/>
                  <a:ext cx="189989" cy="22801"/>
                </a:xfrm>
                <a:custGeom>
                  <a:avLst/>
                  <a:gdLst>
                    <a:gd name="T0" fmla="*/ 14 w 32"/>
                    <a:gd name="T1" fmla="*/ 1 h 4"/>
                    <a:gd name="T2" fmla="*/ 2 w 32"/>
                    <a:gd name="T3" fmla="*/ 1 h 4"/>
                    <a:gd name="T4" fmla="*/ 0 w 32"/>
                    <a:gd name="T5" fmla="*/ 3 h 4"/>
                    <a:gd name="T6" fmla="*/ 14 w 32"/>
                    <a:gd name="T7" fmla="*/ 4 h 4"/>
                    <a:gd name="T8" fmla="*/ 29 w 32"/>
                    <a:gd name="T9" fmla="*/ 3 h 4"/>
                    <a:gd name="T10" fmla="*/ 32 w 32"/>
                    <a:gd name="T11" fmla="*/ 0 h 4"/>
                    <a:gd name="T12" fmla="*/ 32 w 32"/>
                    <a:gd name="T13" fmla="*/ 0 h 4"/>
                    <a:gd name="T14" fmla="*/ 14 w 32"/>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4">
                      <a:moveTo>
                        <a:pt x="14" y="1"/>
                      </a:moveTo>
                      <a:cubicBezTo>
                        <a:pt x="10" y="1"/>
                        <a:pt x="6" y="1"/>
                        <a:pt x="2" y="1"/>
                      </a:cubicBezTo>
                      <a:cubicBezTo>
                        <a:pt x="1" y="1"/>
                        <a:pt x="1" y="2"/>
                        <a:pt x="0" y="3"/>
                      </a:cubicBezTo>
                      <a:cubicBezTo>
                        <a:pt x="5" y="4"/>
                        <a:pt x="10" y="4"/>
                        <a:pt x="14" y="4"/>
                      </a:cubicBezTo>
                      <a:cubicBezTo>
                        <a:pt x="19" y="4"/>
                        <a:pt x="24" y="4"/>
                        <a:pt x="29" y="3"/>
                      </a:cubicBezTo>
                      <a:cubicBezTo>
                        <a:pt x="30" y="2"/>
                        <a:pt x="31" y="1"/>
                        <a:pt x="32" y="0"/>
                      </a:cubicBezTo>
                      <a:cubicBezTo>
                        <a:pt x="32" y="0"/>
                        <a:pt x="32" y="0"/>
                        <a:pt x="32" y="0"/>
                      </a:cubicBezTo>
                      <a:cubicBezTo>
                        <a:pt x="26" y="1"/>
                        <a:pt x="20" y="1"/>
                        <a:pt x="14"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39" name="Freeform 131"/>
                <p:cNvSpPr>
                  <a:spLocks/>
                </p:cNvSpPr>
                <p:nvPr userDrawn="1"/>
              </p:nvSpPr>
              <p:spPr bwMode="auto">
                <a:xfrm>
                  <a:off x="-2126457" y="668753"/>
                  <a:ext cx="121592" cy="38000"/>
                </a:xfrm>
                <a:custGeom>
                  <a:avLst/>
                  <a:gdLst>
                    <a:gd name="T0" fmla="*/ 0 w 21"/>
                    <a:gd name="T1" fmla="*/ 2 h 7"/>
                    <a:gd name="T2" fmla="*/ 0 w 21"/>
                    <a:gd name="T3" fmla="*/ 2 h 7"/>
                    <a:gd name="T4" fmla="*/ 19 w 21"/>
                    <a:gd name="T5" fmla="*/ 7 h 7"/>
                    <a:gd name="T6" fmla="*/ 21 w 21"/>
                    <a:gd name="T7" fmla="*/ 4 h 7"/>
                    <a:gd name="T8" fmla="*/ 0 w 21"/>
                    <a:gd name="T9" fmla="*/ 0 h 7"/>
                    <a:gd name="T10" fmla="*/ 0 w 21"/>
                    <a:gd name="T11" fmla="*/ 2 h 7"/>
                  </a:gdLst>
                  <a:ahLst/>
                  <a:cxnLst>
                    <a:cxn ang="0">
                      <a:pos x="T0" y="T1"/>
                    </a:cxn>
                    <a:cxn ang="0">
                      <a:pos x="T2" y="T3"/>
                    </a:cxn>
                    <a:cxn ang="0">
                      <a:pos x="T4" y="T5"/>
                    </a:cxn>
                    <a:cxn ang="0">
                      <a:pos x="T6" y="T7"/>
                    </a:cxn>
                    <a:cxn ang="0">
                      <a:pos x="T8" y="T9"/>
                    </a:cxn>
                    <a:cxn ang="0">
                      <a:pos x="T10" y="T11"/>
                    </a:cxn>
                  </a:cxnLst>
                  <a:rect l="0" t="0" r="r" b="b"/>
                  <a:pathLst>
                    <a:path w="21" h="7">
                      <a:moveTo>
                        <a:pt x="0" y="2"/>
                      </a:moveTo>
                      <a:cubicBezTo>
                        <a:pt x="0" y="2"/>
                        <a:pt x="0" y="2"/>
                        <a:pt x="0" y="2"/>
                      </a:cubicBezTo>
                      <a:cubicBezTo>
                        <a:pt x="6" y="4"/>
                        <a:pt x="13" y="6"/>
                        <a:pt x="19" y="7"/>
                      </a:cubicBezTo>
                      <a:cubicBezTo>
                        <a:pt x="20" y="6"/>
                        <a:pt x="20" y="5"/>
                        <a:pt x="21" y="4"/>
                      </a:cubicBezTo>
                      <a:cubicBezTo>
                        <a:pt x="14" y="3"/>
                        <a:pt x="7" y="2"/>
                        <a:pt x="0" y="0"/>
                      </a:cubicBezTo>
                      <a:cubicBezTo>
                        <a:pt x="0"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40" name="Freeform 132"/>
                <p:cNvSpPr>
                  <a:spLocks/>
                </p:cNvSpPr>
                <p:nvPr userDrawn="1"/>
              </p:nvSpPr>
              <p:spPr bwMode="auto">
                <a:xfrm>
                  <a:off x="-2255646" y="600356"/>
                  <a:ext cx="113994" cy="75995"/>
                </a:xfrm>
                <a:custGeom>
                  <a:avLst/>
                  <a:gdLst>
                    <a:gd name="T0" fmla="*/ 20 w 20"/>
                    <a:gd name="T1" fmla="*/ 10 h 13"/>
                    <a:gd name="T2" fmla="*/ 1 w 20"/>
                    <a:gd name="T3" fmla="*/ 0 h 13"/>
                    <a:gd name="T4" fmla="*/ 0 w 20"/>
                    <a:gd name="T5" fmla="*/ 2 h 13"/>
                    <a:gd name="T6" fmla="*/ 20 w 20"/>
                    <a:gd name="T7" fmla="*/ 13 h 13"/>
                    <a:gd name="T8" fmla="*/ 20 w 20"/>
                    <a:gd name="T9" fmla="*/ 10 h 13"/>
                  </a:gdLst>
                  <a:ahLst/>
                  <a:cxnLst>
                    <a:cxn ang="0">
                      <a:pos x="T0" y="T1"/>
                    </a:cxn>
                    <a:cxn ang="0">
                      <a:pos x="T2" y="T3"/>
                    </a:cxn>
                    <a:cxn ang="0">
                      <a:pos x="T4" y="T5"/>
                    </a:cxn>
                    <a:cxn ang="0">
                      <a:pos x="T6" y="T7"/>
                    </a:cxn>
                    <a:cxn ang="0">
                      <a:pos x="T8" y="T9"/>
                    </a:cxn>
                  </a:cxnLst>
                  <a:rect l="0" t="0" r="r" b="b"/>
                  <a:pathLst>
                    <a:path w="20" h="13">
                      <a:moveTo>
                        <a:pt x="20" y="10"/>
                      </a:moveTo>
                      <a:cubicBezTo>
                        <a:pt x="13" y="8"/>
                        <a:pt x="7" y="4"/>
                        <a:pt x="1" y="0"/>
                      </a:cubicBezTo>
                      <a:cubicBezTo>
                        <a:pt x="0" y="1"/>
                        <a:pt x="0" y="1"/>
                        <a:pt x="0" y="2"/>
                      </a:cubicBezTo>
                      <a:cubicBezTo>
                        <a:pt x="6" y="7"/>
                        <a:pt x="13" y="10"/>
                        <a:pt x="20" y="13"/>
                      </a:cubicBezTo>
                      <a:cubicBezTo>
                        <a:pt x="20" y="12"/>
                        <a:pt x="20" y="11"/>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41" name="Freeform 133"/>
                <p:cNvSpPr>
                  <a:spLocks/>
                </p:cNvSpPr>
                <p:nvPr userDrawn="1"/>
              </p:nvSpPr>
              <p:spPr bwMode="auto">
                <a:xfrm>
                  <a:off x="-2324044" y="539560"/>
                  <a:ext cx="60796" cy="68398"/>
                </a:xfrm>
                <a:custGeom>
                  <a:avLst/>
                  <a:gdLst>
                    <a:gd name="T0" fmla="*/ 10 w 10"/>
                    <a:gd name="T1" fmla="*/ 9 h 11"/>
                    <a:gd name="T2" fmla="*/ 0 w 10"/>
                    <a:gd name="T3" fmla="*/ 0 h 11"/>
                    <a:gd name="T4" fmla="*/ 1 w 10"/>
                    <a:gd name="T5" fmla="*/ 5 h 11"/>
                    <a:gd name="T6" fmla="*/ 9 w 10"/>
                    <a:gd name="T7" fmla="*/ 11 h 11"/>
                    <a:gd name="T8" fmla="*/ 10 w 10"/>
                    <a:gd name="T9" fmla="*/ 9 h 11"/>
                  </a:gdLst>
                  <a:ahLst/>
                  <a:cxnLst>
                    <a:cxn ang="0">
                      <a:pos x="T0" y="T1"/>
                    </a:cxn>
                    <a:cxn ang="0">
                      <a:pos x="T2" y="T3"/>
                    </a:cxn>
                    <a:cxn ang="0">
                      <a:pos x="T4" y="T5"/>
                    </a:cxn>
                    <a:cxn ang="0">
                      <a:pos x="T6" y="T7"/>
                    </a:cxn>
                    <a:cxn ang="0">
                      <a:pos x="T8" y="T9"/>
                    </a:cxn>
                  </a:cxnLst>
                  <a:rect l="0" t="0" r="r" b="b"/>
                  <a:pathLst>
                    <a:path w="10" h="11">
                      <a:moveTo>
                        <a:pt x="10" y="9"/>
                      </a:moveTo>
                      <a:cubicBezTo>
                        <a:pt x="6" y="6"/>
                        <a:pt x="3" y="3"/>
                        <a:pt x="0" y="0"/>
                      </a:cubicBezTo>
                      <a:cubicBezTo>
                        <a:pt x="0" y="1"/>
                        <a:pt x="1" y="3"/>
                        <a:pt x="1" y="5"/>
                      </a:cubicBezTo>
                      <a:cubicBezTo>
                        <a:pt x="4" y="7"/>
                        <a:pt x="6" y="9"/>
                        <a:pt x="9" y="11"/>
                      </a:cubicBezTo>
                      <a:cubicBezTo>
                        <a:pt x="9" y="10"/>
                        <a:pt x="10" y="9"/>
                        <a:pt x="1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42" name="Freeform 134"/>
                <p:cNvSpPr>
                  <a:spLocks/>
                </p:cNvSpPr>
                <p:nvPr userDrawn="1"/>
              </p:nvSpPr>
              <p:spPr bwMode="auto">
                <a:xfrm>
                  <a:off x="-1898473" y="281178"/>
                  <a:ext cx="91194" cy="30398"/>
                </a:xfrm>
                <a:custGeom>
                  <a:avLst/>
                  <a:gdLst>
                    <a:gd name="T0" fmla="*/ 0 w 15"/>
                    <a:gd name="T1" fmla="*/ 2 h 5"/>
                    <a:gd name="T2" fmla="*/ 2 w 15"/>
                    <a:gd name="T3" fmla="*/ 5 h 5"/>
                    <a:gd name="T4" fmla="*/ 13 w 15"/>
                    <a:gd name="T5" fmla="*/ 3 h 5"/>
                    <a:gd name="T6" fmla="*/ 15 w 15"/>
                    <a:gd name="T7" fmla="*/ 3 h 5"/>
                    <a:gd name="T8" fmla="*/ 12 w 15"/>
                    <a:gd name="T9" fmla="*/ 0 h 5"/>
                    <a:gd name="T10" fmla="*/ 0 w 15"/>
                    <a:gd name="T11" fmla="*/ 2 h 5"/>
                  </a:gdLst>
                  <a:ahLst/>
                  <a:cxnLst>
                    <a:cxn ang="0">
                      <a:pos x="T0" y="T1"/>
                    </a:cxn>
                    <a:cxn ang="0">
                      <a:pos x="T2" y="T3"/>
                    </a:cxn>
                    <a:cxn ang="0">
                      <a:pos x="T4" y="T5"/>
                    </a:cxn>
                    <a:cxn ang="0">
                      <a:pos x="T6" y="T7"/>
                    </a:cxn>
                    <a:cxn ang="0">
                      <a:pos x="T8" y="T9"/>
                    </a:cxn>
                    <a:cxn ang="0">
                      <a:pos x="T10" y="T11"/>
                    </a:cxn>
                  </a:cxnLst>
                  <a:rect l="0" t="0" r="r" b="b"/>
                  <a:pathLst>
                    <a:path w="15" h="5">
                      <a:moveTo>
                        <a:pt x="0" y="2"/>
                      </a:moveTo>
                      <a:cubicBezTo>
                        <a:pt x="0" y="3"/>
                        <a:pt x="1" y="4"/>
                        <a:pt x="2" y="5"/>
                      </a:cubicBezTo>
                      <a:cubicBezTo>
                        <a:pt x="5" y="4"/>
                        <a:pt x="9" y="3"/>
                        <a:pt x="13" y="3"/>
                      </a:cubicBezTo>
                      <a:cubicBezTo>
                        <a:pt x="14" y="3"/>
                        <a:pt x="14" y="3"/>
                        <a:pt x="15" y="3"/>
                      </a:cubicBezTo>
                      <a:cubicBezTo>
                        <a:pt x="14" y="2"/>
                        <a:pt x="13" y="1"/>
                        <a:pt x="12" y="0"/>
                      </a:cubicBezTo>
                      <a:cubicBezTo>
                        <a:pt x="8" y="0"/>
                        <a:pt x="4"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43" name="Freeform 135"/>
                <p:cNvSpPr>
                  <a:spLocks/>
                </p:cNvSpPr>
                <p:nvPr userDrawn="1"/>
              </p:nvSpPr>
              <p:spPr bwMode="auto">
                <a:xfrm>
                  <a:off x="-1966866" y="296377"/>
                  <a:ext cx="68398" cy="53199"/>
                </a:xfrm>
                <a:custGeom>
                  <a:avLst/>
                  <a:gdLst>
                    <a:gd name="T0" fmla="*/ 9 w 11"/>
                    <a:gd name="T1" fmla="*/ 0 h 8"/>
                    <a:gd name="T2" fmla="*/ 0 w 11"/>
                    <a:gd name="T3" fmla="*/ 4 h 8"/>
                    <a:gd name="T4" fmla="*/ 0 w 11"/>
                    <a:gd name="T5" fmla="*/ 8 h 8"/>
                    <a:gd name="T6" fmla="*/ 11 w 11"/>
                    <a:gd name="T7" fmla="*/ 2 h 8"/>
                    <a:gd name="T8" fmla="*/ 9 w 11"/>
                    <a:gd name="T9" fmla="*/ 0 h 8"/>
                  </a:gdLst>
                  <a:ahLst/>
                  <a:cxnLst>
                    <a:cxn ang="0">
                      <a:pos x="T0" y="T1"/>
                    </a:cxn>
                    <a:cxn ang="0">
                      <a:pos x="T2" y="T3"/>
                    </a:cxn>
                    <a:cxn ang="0">
                      <a:pos x="T4" y="T5"/>
                    </a:cxn>
                    <a:cxn ang="0">
                      <a:pos x="T6" y="T7"/>
                    </a:cxn>
                    <a:cxn ang="0">
                      <a:pos x="T8" y="T9"/>
                    </a:cxn>
                  </a:cxnLst>
                  <a:rect l="0" t="0" r="r" b="b"/>
                  <a:pathLst>
                    <a:path w="11" h="8">
                      <a:moveTo>
                        <a:pt x="9" y="0"/>
                      </a:moveTo>
                      <a:cubicBezTo>
                        <a:pt x="6" y="1"/>
                        <a:pt x="3" y="2"/>
                        <a:pt x="0" y="4"/>
                      </a:cubicBezTo>
                      <a:cubicBezTo>
                        <a:pt x="0" y="5"/>
                        <a:pt x="0" y="7"/>
                        <a:pt x="0" y="8"/>
                      </a:cubicBezTo>
                      <a:cubicBezTo>
                        <a:pt x="4" y="5"/>
                        <a:pt x="7" y="4"/>
                        <a:pt x="11" y="2"/>
                      </a:cubicBezTo>
                      <a:cubicBezTo>
                        <a:pt x="10" y="2"/>
                        <a:pt x="10" y="1"/>
                        <a:pt x="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44" name="Freeform 136"/>
                <p:cNvSpPr>
                  <a:spLocks/>
                </p:cNvSpPr>
                <p:nvPr userDrawn="1"/>
              </p:nvSpPr>
              <p:spPr bwMode="auto">
                <a:xfrm>
                  <a:off x="-2042861" y="326775"/>
                  <a:ext cx="75995" cy="60796"/>
                </a:xfrm>
                <a:custGeom>
                  <a:avLst/>
                  <a:gdLst>
                    <a:gd name="T0" fmla="*/ 12 w 13"/>
                    <a:gd name="T1" fmla="*/ 0 h 10"/>
                    <a:gd name="T2" fmla="*/ 0 w 13"/>
                    <a:gd name="T3" fmla="*/ 10 h 10"/>
                    <a:gd name="T4" fmla="*/ 6 w 13"/>
                    <a:gd name="T5" fmla="*/ 9 h 10"/>
                    <a:gd name="T6" fmla="*/ 13 w 13"/>
                    <a:gd name="T7" fmla="*/ 3 h 10"/>
                    <a:gd name="T8" fmla="*/ 12 w 13"/>
                    <a:gd name="T9" fmla="*/ 0 h 10"/>
                  </a:gdLst>
                  <a:ahLst/>
                  <a:cxnLst>
                    <a:cxn ang="0">
                      <a:pos x="T0" y="T1"/>
                    </a:cxn>
                    <a:cxn ang="0">
                      <a:pos x="T2" y="T3"/>
                    </a:cxn>
                    <a:cxn ang="0">
                      <a:pos x="T4" y="T5"/>
                    </a:cxn>
                    <a:cxn ang="0">
                      <a:pos x="T6" y="T7"/>
                    </a:cxn>
                    <a:cxn ang="0">
                      <a:pos x="T8" y="T9"/>
                    </a:cxn>
                  </a:cxnLst>
                  <a:rect l="0" t="0" r="r" b="b"/>
                  <a:pathLst>
                    <a:path w="13" h="10">
                      <a:moveTo>
                        <a:pt x="12" y="0"/>
                      </a:moveTo>
                      <a:cubicBezTo>
                        <a:pt x="8" y="3"/>
                        <a:pt x="4" y="6"/>
                        <a:pt x="0" y="10"/>
                      </a:cubicBezTo>
                      <a:cubicBezTo>
                        <a:pt x="2" y="10"/>
                        <a:pt x="4" y="9"/>
                        <a:pt x="6" y="9"/>
                      </a:cubicBezTo>
                      <a:cubicBezTo>
                        <a:pt x="8" y="7"/>
                        <a:pt x="10" y="5"/>
                        <a:pt x="13" y="3"/>
                      </a:cubicBezTo>
                      <a:cubicBezTo>
                        <a:pt x="12" y="2"/>
                        <a:pt x="12" y="1"/>
                        <a:pt x="1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45" name="Freeform 137"/>
                <p:cNvSpPr>
                  <a:spLocks/>
                </p:cNvSpPr>
                <p:nvPr userDrawn="1"/>
              </p:nvSpPr>
              <p:spPr bwMode="auto">
                <a:xfrm>
                  <a:off x="-2141656" y="395172"/>
                  <a:ext cx="121592" cy="372376"/>
                </a:xfrm>
                <a:custGeom>
                  <a:avLst/>
                  <a:gdLst>
                    <a:gd name="T0" fmla="*/ 3 w 21"/>
                    <a:gd name="T1" fmla="*/ 49 h 64"/>
                    <a:gd name="T2" fmla="*/ 3 w 21"/>
                    <a:gd name="T3" fmla="*/ 47 h 64"/>
                    <a:gd name="T4" fmla="*/ 13 w 21"/>
                    <a:gd name="T5" fmla="*/ 11 h 64"/>
                    <a:gd name="T6" fmla="*/ 14 w 21"/>
                    <a:gd name="T7" fmla="*/ 9 h 64"/>
                    <a:gd name="T8" fmla="*/ 21 w 21"/>
                    <a:gd name="T9" fmla="*/ 0 h 64"/>
                    <a:gd name="T10" fmla="*/ 15 w 21"/>
                    <a:gd name="T11" fmla="*/ 1 h 64"/>
                    <a:gd name="T12" fmla="*/ 12 w 21"/>
                    <a:gd name="T13" fmla="*/ 7 h 64"/>
                    <a:gd name="T14" fmla="*/ 11 w 21"/>
                    <a:gd name="T15" fmla="*/ 9 h 64"/>
                    <a:gd name="T16" fmla="*/ 0 w 21"/>
                    <a:gd name="T17" fmla="*/ 45 h 64"/>
                    <a:gd name="T18" fmla="*/ 0 w 21"/>
                    <a:gd name="T19" fmla="*/ 48 h 64"/>
                    <a:gd name="T20" fmla="*/ 0 w 21"/>
                    <a:gd name="T21" fmla="*/ 49 h 64"/>
                    <a:gd name="T22" fmla="*/ 1 w 21"/>
                    <a:gd name="T23" fmla="*/ 63 h 64"/>
                    <a:gd name="T24" fmla="*/ 5 w 21"/>
                    <a:gd name="T25" fmla="*/ 64 h 64"/>
                    <a:gd name="T26" fmla="*/ 3 w 21"/>
                    <a:gd name="T27" fmla="*/ 49 h 64"/>
                    <a:gd name="T28" fmla="*/ 3 w 21"/>
                    <a:gd name="T29" fmla="*/ 4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64">
                      <a:moveTo>
                        <a:pt x="3" y="49"/>
                      </a:moveTo>
                      <a:cubicBezTo>
                        <a:pt x="3" y="48"/>
                        <a:pt x="3" y="47"/>
                        <a:pt x="3" y="47"/>
                      </a:cubicBezTo>
                      <a:cubicBezTo>
                        <a:pt x="4" y="33"/>
                        <a:pt x="7" y="21"/>
                        <a:pt x="13" y="11"/>
                      </a:cubicBezTo>
                      <a:cubicBezTo>
                        <a:pt x="13" y="10"/>
                        <a:pt x="14" y="10"/>
                        <a:pt x="14" y="9"/>
                      </a:cubicBezTo>
                      <a:cubicBezTo>
                        <a:pt x="16" y="6"/>
                        <a:pt x="19" y="2"/>
                        <a:pt x="21" y="0"/>
                      </a:cubicBezTo>
                      <a:cubicBezTo>
                        <a:pt x="19" y="0"/>
                        <a:pt x="17" y="1"/>
                        <a:pt x="15" y="1"/>
                      </a:cubicBezTo>
                      <a:cubicBezTo>
                        <a:pt x="14" y="3"/>
                        <a:pt x="13" y="5"/>
                        <a:pt x="12" y="7"/>
                      </a:cubicBezTo>
                      <a:cubicBezTo>
                        <a:pt x="11" y="7"/>
                        <a:pt x="11" y="8"/>
                        <a:pt x="11" y="9"/>
                      </a:cubicBezTo>
                      <a:cubicBezTo>
                        <a:pt x="5" y="19"/>
                        <a:pt x="1" y="32"/>
                        <a:pt x="0" y="45"/>
                      </a:cubicBezTo>
                      <a:cubicBezTo>
                        <a:pt x="0" y="46"/>
                        <a:pt x="0" y="47"/>
                        <a:pt x="0" y="48"/>
                      </a:cubicBezTo>
                      <a:cubicBezTo>
                        <a:pt x="0" y="48"/>
                        <a:pt x="0" y="48"/>
                        <a:pt x="0" y="49"/>
                      </a:cubicBezTo>
                      <a:cubicBezTo>
                        <a:pt x="0" y="54"/>
                        <a:pt x="1" y="58"/>
                        <a:pt x="1" y="63"/>
                      </a:cubicBezTo>
                      <a:cubicBezTo>
                        <a:pt x="3" y="63"/>
                        <a:pt x="4" y="64"/>
                        <a:pt x="5" y="64"/>
                      </a:cubicBezTo>
                      <a:cubicBezTo>
                        <a:pt x="4" y="59"/>
                        <a:pt x="4" y="55"/>
                        <a:pt x="3" y="49"/>
                      </a:cubicBezTo>
                      <a:cubicBezTo>
                        <a:pt x="3" y="49"/>
                        <a:pt x="3" y="49"/>
                        <a:pt x="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46" name="Freeform 138"/>
                <p:cNvSpPr>
                  <a:spLocks/>
                </p:cNvSpPr>
                <p:nvPr userDrawn="1"/>
              </p:nvSpPr>
              <p:spPr bwMode="auto">
                <a:xfrm>
                  <a:off x="-2035264" y="197586"/>
                  <a:ext cx="15199" cy="7602"/>
                </a:xfrm>
                <a:custGeom>
                  <a:avLst/>
                  <a:gdLst>
                    <a:gd name="T0" fmla="*/ 2 w 3"/>
                    <a:gd name="T1" fmla="*/ 0 h 1"/>
                    <a:gd name="T2" fmla="*/ 0 w 3"/>
                    <a:gd name="T3" fmla="*/ 0 h 1"/>
                    <a:gd name="T4" fmla="*/ 3 w 3"/>
                    <a:gd name="T5" fmla="*/ 1 h 1"/>
                    <a:gd name="T6" fmla="*/ 2 w 3"/>
                    <a:gd name="T7" fmla="*/ 0 h 1"/>
                  </a:gdLst>
                  <a:ahLst/>
                  <a:cxnLst>
                    <a:cxn ang="0">
                      <a:pos x="T0" y="T1"/>
                    </a:cxn>
                    <a:cxn ang="0">
                      <a:pos x="T2" y="T3"/>
                    </a:cxn>
                    <a:cxn ang="0">
                      <a:pos x="T4" y="T5"/>
                    </a:cxn>
                    <a:cxn ang="0">
                      <a:pos x="T6" y="T7"/>
                    </a:cxn>
                  </a:cxnLst>
                  <a:rect l="0" t="0" r="r" b="b"/>
                  <a:pathLst>
                    <a:path w="3" h="1">
                      <a:moveTo>
                        <a:pt x="2" y="0"/>
                      </a:moveTo>
                      <a:cubicBezTo>
                        <a:pt x="1" y="0"/>
                        <a:pt x="1" y="0"/>
                        <a:pt x="0" y="0"/>
                      </a:cubicBezTo>
                      <a:cubicBezTo>
                        <a:pt x="1" y="0"/>
                        <a:pt x="2" y="1"/>
                        <a:pt x="3" y="1"/>
                      </a:cubicBezTo>
                      <a:cubicBezTo>
                        <a:pt x="2" y="1"/>
                        <a:pt x="2" y="0"/>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47" name="Freeform 139"/>
                <p:cNvSpPr>
                  <a:spLocks/>
                </p:cNvSpPr>
                <p:nvPr userDrawn="1"/>
              </p:nvSpPr>
              <p:spPr bwMode="auto">
                <a:xfrm>
                  <a:off x="-2020065" y="197586"/>
                  <a:ext cx="182387" cy="189989"/>
                </a:xfrm>
                <a:custGeom>
                  <a:avLst/>
                  <a:gdLst>
                    <a:gd name="T0" fmla="*/ 13 w 31"/>
                    <a:gd name="T1" fmla="*/ 13 h 33"/>
                    <a:gd name="T2" fmla="*/ 15 w 31"/>
                    <a:gd name="T3" fmla="*/ 14 h 33"/>
                    <a:gd name="T4" fmla="*/ 18 w 31"/>
                    <a:gd name="T5" fmla="*/ 18 h 33"/>
                    <a:gd name="T6" fmla="*/ 20 w 31"/>
                    <a:gd name="T7" fmla="*/ 20 h 33"/>
                    <a:gd name="T8" fmla="*/ 27 w 31"/>
                    <a:gd name="T9" fmla="*/ 32 h 33"/>
                    <a:gd name="T10" fmla="*/ 31 w 31"/>
                    <a:gd name="T11" fmla="*/ 33 h 33"/>
                    <a:gd name="T12" fmla="*/ 23 w 31"/>
                    <a:gd name="T13" fmla="*/ 20 h 33"/>
                    <a:gd name="T14" fmla="*/ 21 w 31"/>
                    <a:gd name="T15" fmla="*/ 17 h 33"/>
                    <a:gd name="T16" fmla="*/ 17 w 31"/>
                    <a:gd name="T17" fmla="*/ 12 h 33"/>
                    <a:gd name="T18" fmla="*/ 15 w 31"/>
                    <a:gd name="T19" fmla="*/ 11 h 33"/>
                    <a:gd name="T20" fmla="*/ 3 w 31"/>
                    <a:gd name="T21" fmla="*/ 0 h 33"/>
                    <a:gd name="T22" fmla="*/ 0 w 31"/>
                    <a:gd name="T23" fmla="*/ 0 h 33"/>
                    <a:gd name="T24" fmla="*/ 1 w 31"/>
                    <a:gd name="T25" fmla="*/ 3 h 33"/>
                    <a:gd name="T26" fmla="*/ 13 w 31"/>
                    <a:gd name="T27" fmla="*/ 1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3">
                      <a:moveTo>
                        <a:pt x="13" y="13"/>
                      </a:moveTo>
                      <a:cubicBezTo>
                        <a:pt x="14" y="13"/>
                        <a:pt x="14" y="14"/>
                        <a:pt x="15" y="14"/>
                      </a:cubicBezTo>
                      <a:cubicBezTo>
                        <a:pt x="16" y="15"/>
                        <a:pt x="17" y="17"/>
                        <a:pt x="18" y="18"/>
                      </a:cubicBezTo>
                      <a:cubicBezTo>
                        <a:pt x="19" y="19"/>
                        <a:pt x="19" y="20"/>
                        <a:pt x="20" y="20"/>
                      </a:cubicBezTo>
                      <a:cubicBezTo>
                        <a:pt x="23" y="24"/>
                        <a:pt x="25" y="28"/>
                        <a:pt x="27" y="32"/>
                      </a:cubicBezTo>
                      <a:cubicBezTo>
                        <a:pt x="28" y="32"/>
                        <a:pt x="29" y="32"/>
                        <a:pt x="31" y="33"/>
                      </a:cubicBezTo>
                      <a:cubicBezTo>
                        <a:pt x="28" y="28"/>
                        <a:pt x="26" y="24"/>
                        <a:pt x="23" y="20"/>
                      </a:cubicBezTo>
                      <a:cubicBezTo>
                        <a:pt x="22" y="19"/>
                        <a:pt x="21" y="18"/>
                        <a:pt x="21" y="17"/>
                      </a:cubicBezTo>
                      <a:cubicBezTo>
                        <a:pt x="19" y="15"/>
                        <a:pt x="18" y="14"/>
                        <a:pt x="17" y="12"/>
                      </a:cubicBezTo>
                      <a:cubicBezTo>
                        <a:pt x="16" y="12"/>
                        <a:pt x="16" y="11"/>
                        <a:pt x="15" y="11"/>
                      </a:cubicBezTo>
                      <a:cubicBezTo>
                        <a:pt x="11" y="7"/>
                        <a:pt x="7" y="3"/>
                        <a:pt x="3" y="0"/>
                      </a:cubicBezTo>
                      <a:cubicBezTo>
                        <a:pt x="2" y="0"/>
                        <a:pt x="1" y="0"/>
                        <a:pt x="0" y="0"/>
                      </a:cubicBezTo>
                      <a:cubicBezTo>
                        <a:pt x="1" y="1"/>
                        <a:pt x="1" y="2"/>
                        <a:pt x="1" y="3"/>
                      </a:cubicBezTo>
                      <a:cubicBezTo>
                        <a:pt x="6" y="6"/>
                        <a:pt x="10" y="9"/>
                        <a:pt x="13"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48" name="Freeform 140"/>
                <p:cNvSpPr>
                  <a:spLocks/>
                </p:cNvSpPr>
                <p:nvPr userDrawn="1"/>
              </p:nvSpPr>
              <p:spPr bwMode="auto">
                <a:xfrm>
                  <a:off x="-1852877" y="395172"/>
                  <a:ext cx="53199" cy="296382"/>
                </a:xfrm>
                <a:custGeom>
                  <a:avLst/>
                  <a:gdLst>
                    <a:gd name="T0" fmla="*/ 10 w 10"/>
                    <a:gd name="T1" fmla="*/ 33 h 52"/>
                    <a:gd name="T2" fmla="*/ 10 w 10"/>
                    <a:gd name="T3" fmla="*/ 32 h 52"/>
                    <a:gd name="T4" fmla="*/ 4 w 10"/>
                    <a:gd name="T5" fmla="*/ 1 h 52"/>
                    <a:gd name="T6" fmla="*/ 0 w 10"/>
                    <a:gd name="T7" fmla="*/ 0 h 52"/>
                    <a:gd name="T8" fmla="*/ 8 w 10"/>
                    <a:gd name="T9" fmla="*/ 32 h 52"/>
                    <a:gd name="T10" fmla="*/ 8 w 10"/>
                    <a:gd name="T11" fmla="*/ 32 h 52"/>
                    <a:gd name="T12" fmla="*/ 8 w 10"/>
                    <a:gd name="T13" fmla="*/ 34 h 52"/>
                    <a:gd name="T14" fmla="*/ 5 w 10"/>
                    <a:gd name="T15" fmla="*/ 52 h 52"/>
                    <a:gd name="T16" fmla="*/ 5 w 10"/>
                    <a:gd name="T17" fmla="*/ 52 h 52"/>
                    <a:gd name="T18" fmla="*/ 9 w 10"/>
                    <a:gd name="T19" fmla="*/ 48 h 52"/>
                    <a:gd name="T20" fmla="*/ 10 w 10"/>
                    <a:gd name="T21" fmla="*/ 35 h 52"/>
                    <a:gd name="T22" fmla="*/ 10 w 10"/>
                    <a:gd name="T23" fmla="*/ 3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52">
                      <a:moveTo>
                        <a:pt x="10" y="33"/>
                      </a:moveTo>
                      <a:cubicBezTo>
                        <a:pt x="10" y="32"/>
                        <a:pt x="10" y="32"/>
                        <a:pt x="10" y="32"/>
                      </a:cubicBezTo>
                      <a:cubicBezTo>
                        <a:pt x="10" y="21"/>
                        <a:pt x="8" y="11"/>
                        <a:pt x="4" y="1"/>
                      </a:cubicBezTo>
                      <a:cubicBezTo>
                        <a:pt x="3" y="1"/>
                        <a:pt x="2" y="0"/>
                        <a:pt x="0" y="0"/>
                      </a:cubicBezTo>
                      <a:cubicBezTo>
                        <a:pt x="5" y="10"/>
                        <a:pt x="8" y="21"/>
                        <a:pt x="8" y="32"/>
                      </a:cubicBezTo>
                      <a:cubicBezTo>
                        <a:pt x="8" y="32"/>
                        <a:pt x="8" y="32"/>
                        <a:pt x="8" y="32"/>
                      </a:cubicBezTo>
                      <a:cubicBezTo>
                        <a:pt x="8" y="33"/>
                        <a:pt x="8" y="34"/>
                        <a:pt x="8" y="34"/>
                      </a:cubicBezTo>
                      <a:cubicBezTo>
                        <a:pt x="7" y="40"/>
                        <a:pt x="6" y="46"/>
                        <a:pt x="5" y="52"/>
                      </a:cubicBezTo>
                      <a:cubicBezTo>
                        <a:pt x="5" y="52"/>
                        <a:pt x="5" y="52"/>
                        <a:pt x="5" y="52"/>
                      </a:cubicBezTo>
                      <a:cubicBezTo>
                        <a:pt x="6" y="51"/>
                        <a:pt x="8" y="49"/>
                        <a:pt x="9" y="48"/>
                      </a:cubicBezTo>
                      <a:cubicBezTo>
                        <a:pt x="10" y="43"/>
                        <a:pt x="10" y="39"/>
                        <a:pt x="10" y="35"/>
                      </a:cubicBezTo>
                      <a:cubicBezTo>
                        <a:pt x="10" y="34"/>
                        <a:pt x="10" y="33"/>
                        <a:pt x="10"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49" name="Freeform 141"/>
                <p:cNvSpPr>
                  <a:spLocks/>
                </p:cNvSpPr>
                <p:nvPr userDrawn="1"/>
              </p:nvSpPr>
              <p:spPr bwMode="auto">
                <a:xfrm>
                  <a:off x="-2020065" y="197586"/>
                  <a:ext cx="60796" cy="174790"/>
                </a:xfrm>
                <a:custGeom>
                  <a:avLst/>
                  <a:gdLst>
                    <a:gd name="T0" fmla="*/ 7 w 11"/>
                    <a:gd name="T1" fmla="*/ 18 h 31"/>
                    <a:gd name="T2" fmla="*/ 8 w 11"/>
                    <a:gd name="T3" fmla="*/ 20 h 31"/>
                    <a:gd name="T4" fmla="*/ 9 w 11"/>
                    <a:gd name="T5" fmla="*/ 23 h 31"/>
                    <a:gd name="T6" fmla="*/ 10 w 11"/>
                    <a:gd name="T7" fmla="*/ 26 h 31"/>
                    <a:gd name="T8" fmla="*/ 10 w 11"/>
                    <a:gd name="T9" fmla="*/ 31 h 31"/>
                    <a:gd name="T10" fmla="*/ 11 w 11"/>
                    <a:gd name="T11" fmla="*/ 31 h 31"/>
                    <a:gd name="T12" fmla="*/ 10 w 11"/>
                    <a:gd name="T13" fmla="*/ 26 h 31"/>
                    <a:gd name="T14" fmla="*/ 10 w 11"/>
                    <a:gd name="T15" fmla="*/ 22 h 31"/>
                    <a:gd name="T16" fmla="*/ 9 w 11"/>
                    <a:gd name="T17" fmla="*/ 19 h 31"/>
                    <a:gd name="T18" fmla="*/ 8 w 11"/>
                    <a:gd name="T19" fmla="*/ 17 h 31"/>
                    <a:gd name="T20" fmla="*/ 2 w 11"/>
                    <a:gd name="T21" fmla="*/ 3 h 31"/>
                    <a:gd name="T22" fmla="*/ 1 w 11"/>
                    <a:gd name="T23" fmla="*/ 0 h 31"/>
                    <a:gd name="T24" fmla="*/ 0 w 11"/>
                    <a:gd name="T25" fmla="*/ 0 h 31"/>
                    <a:gd name="T26" fmla="*/ 1 w 11"/>
                    <a:gd name="T27" fmla="*/ 1 h 31"/>
                    <a:gd name="T28" fmla="*/ 7 w 11"/>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1">
                      <a:moveTo>
                        <a:pt x="7" y="18"/>
                      </a:moveTo>
                      <a:cubicBezTo>
                        <a:pt x="8" y="18"/>
                        <a:pt x="8" y="19"/>
                        <a:pt x="8" y="20"/>
                      </a:cubicBezTo>
                      <a:cubicBezTo>
                        <a:pt x="8" y="21"/>
                        <a:pt x="9" y="22"/>
                        <a:pt x="9" y="23"/>
                      </a:cubicBezTo>
                      <a:cubicBezTo>
                        <a:pt x="9" y="24"/>
                        <a:pt x="9" y="25"/>
                        <a:pt x="10" y="26"/>
                      </a:cubicBezTo>
                      <a:cubicBezTo>
                        <a:pt x="10" y="28"/>
                        <a:pt x="10" y="29"/>
                        <a:pt x="10" y="31"/>
                      </a:cubicBezTo>
                      <a:cubicBezTo>
                        <a:pt x="11" y="31"/>
                        <a:pt x="11" y="31"/>
                        <a:pt x="11" y="31"/>
                      </a:cubicBezTo>
                      <a:cubicBezTo>
                        <a:pt x="11" y="29"/>
                        <a:pt x="11" y="27"/>
                        <a:pt x="10" y="26"/>
                      </a:cubicBezTo>
                      <a:cubicBezTo>
                        <a:pt x="10" y="25"/>
                        <a:pt x="10" y="23"/>
                        <a:pt x="10" y="22"/>
                      </a:cubicBezTo>
                      <a:cubicBezTo>
                        <a:pt x="9" y="21"/>
                        <a:pt x="9" y="20"/>
                        <a:pt x="9" y="19"/>
                      </a:cubicBezTo>
                      <a:cubicBezTo>
                        <a:pt x="9" y="19"/>
                        <a:pt x="8" y="18"/>
                        <a:pt x="8" y="17"/>
                      </a:cubicBezTo>
                      <a:cubicBezTo>
                        <a:pt x="7" y="12"/>
                        <a:pt x="5" y="7"/>
                        <a:pt x="2" y="3"/>
                      </a:cubicBezTo>
                      <a:cubicBezTo>
                        <a:pt x="2" y="2"/>
                        <a:pt x="2" y="1"/>
                        <a:pt x="1" y="0"/>
                      </a:cubicBezTo>
                      <a:cubicBezTo>
                        <a:pt x="1" y="0"/>
                        <a:pt x="0" y="0"/>
                        <a:pt x="0" y="0"/>
                      </a:cubicBezTo>
                      <a:cubicBezTo>
                        <a:pt x="0" y="0"/>
                        <a:pt x="0" y="1"/>
                        <a:pt x="1" y="1"/>
                      </a:cubicBezTo>
                      <a:cubicBezTo>
                        <a:pt x="3" y="7"/>
                        <a:pt x="6" y="12"/>
                        <a:pt x="7"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50" name="Freeform 142"/>
                <p:cNvSpPr>
                  <a:spLocks/>
                </p:cNvSpPr>
                <p:nvPr userDrawn="1"/>
              </p:nvSpPr>
              <p:spPr bwMode="auto">
                <a:xfrm>
                  <a:off x="-2058060" y="387571"/>
                  <a:ext cx="113994" cy="395172"/>
                </a:xfrm>
                <a:custGeom>
                  <a:avLst/>
                  <a:gdLst>
                    <a:gd name="T0" fmla="*/ 10 w 19"/>
                    <a:gd name="T1" fmla="*/ 54 h 68"/>
                    <a:gd name="T2" fmla="*/ 17 w 19"/>
                    <a:gd name="T3" fmla="*/ 28 h 68"/>
                    <a:gd name="T4" fmla="*/ 18 w 19"/>
                    <a:gd name="T5" fmla="*/ 26 h 68"/>
                    <a:gd name="T6" fmla="*/ 19 w 19"/>
                    <a:gd name="T7" fmla="*/ 13 h 68"/>
                    <a:gd name="T8" fmla="*/ 18 w 19"/>
                    <a:gd name="T9" fmla="*/ 0 h 68"/>
                    <a:gd name="T10" fmla="*/ 17 w 19"/>
                    <a:gd name="T11" fmla="*/ 0 h 68"/>
                    <a:gd name="T12" fmla="*/ 18 w 19"/>
                    <a:gd name="T13" fmla="*/ 13 h 68"/>
                    <a:gd name="T14" fmla="*/ 17 w 19"/>
                    <a:gd name="T15" fmla="*/ 25 h 68"/>
                    <a:gd name="T16" fmla="*/ 16 w 19"/>
                    <a:gd name="T17" fmla="*/ 27 h 68"/>
                    <a:gd name="T18" fmla="*/ 9 w 19"/>
                    <a:gd name="T19" fmla="*/ 53 h 68"/>
                    <a:gd name="T20" fmla="*/ 7 w 19"/>
                    <a:gd name="T21" fmla="*/ 56 h 68"/>
                    <a:gd name="T22" fmla="*/ 0 w 19"/>
                    <a:gd name="T23" fmla="*/ 68 h 68"/>
                    <a:gd name="T24" fmla="*/ 1 w 19"/>
                    <a:gd name="T25" fmla="*/ 68 h 68"/>
                    <a:gd name="T26" fmla="*/ 8 w 19"/>
                    <a:gd name="T27" fmla="*/ 56 h 68"/>
                    <a:gd name="T28" fmla="*/ 10 w 19"/>
                    <a:gd name="T29" fmla="*/ 5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68">
                      <a:moveTo>
                        <a:pt x="10" y="54"/>
                      </a:moveTo>
                      <a:cubicBezTo>
                        <a:pt x="13" y="46"/>
                        <a:pt x="16" y="37"/>
                        <a:pt x="17" y="28"/>
                      </a:cubicBezTo>
                      <a:cubicBezTo>
                        <a:pt x="18" y="27"/>
                        <a:pt x="18" y="26"/>
                        <a:pt x="18" y="26"/>
                      </a:cubicBezTo>
                      <a:cubicBezTo>
                        <a:pt x="18" y="22"/>
                        <a:pt x="19" y="17"/>
                        <a:pt x="19" y="13"/>
                      </a:cubicBezTo>
                      <a:cubicBezTo>
                        <a:pt x="19" y="8"/>
                        <a:pt x="18" y="4"/>
                        <a:pt x="18" y="0"/>
                      </a:cubicBezTo>
                      <a:cubicBezTo>
                        <a:pt x="17" y="0"/>
                        <a:pt x="17" y="0"/>
                        <a:pt x="17" y="0"/>
                      </a:cubicBezTo>
                      <a:cubicBezTo>
                        <a:pt x="17" y="4"/>
                        <a:pt x="18" y="8"/>
                        <a:pt x="18" y="13"/>
                      </a:cubicBezTo>
                      <a:cubicBezTo>
                        <a:pt x="18" y="17"/>
                        <a:pt x="17" y="21"/>
                        <a:pt x="17" y="25"/>
                      </a:cubicBezTo>
                      <a:cubicBezTo>
                        <a:pt x="17" y="26"/>
                        <a:pt x="17" y="27"/>
                        <a:pt x="16" y="27"/>
                      </a:cubicBezTo>
                      <a:cubicBezTo>
                        <a:pt x="15" y="37"/>
                        <a:pt x="12" y="45"/>
                        <a:pt x="9" y="53"/>
                      </a:cubicBezTo>
                      <a:cubicBezTo>
                        <a:pt x="8" y="54"/>
                        <a:pt x="8" y="55"/>
                        <a:pt x="7" y="56"/>
                      </a:cubicBezTo>
                      <a:cubicBezTo>
                        <a:pt x="5" y="60"/>
                        <a:pt x="3" y="64"/>
                        <a:pt x="0" y="68"/>
                      </a:cubicBezTo>
                      <a:cubicBezTo>
                        <a:pt x="0" y="68"/>
                        <a:pt x="1" y="68"/>
                        <a:pt x="1" y="68"/>
                      </a:cubicBezTo>
                      <a:cubicBezTo>
                        <a:pt x="4" y="64"/>
                        <a:pt x="6" y="60"/>
                        <a:pt x="8" y="56"/>
                      </a:cubicBezTo>
                      <a:cubicBezTo>
                        <a:pt x="9" y="55"/>
                        <a:pt x="9" y="54"/>
                        <a:pt x="10"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51" name="Freeform 143"/>
                <p:cNvSpPr>
                  <a:spLocks/>
                </p:cNvSpPr>
                <p:nvPr userDrawn="1"/>
              </p:nvSpPr>
              <p:spPr bwMode="auto">
                <a:xfrm>
                  <a:off x="-2286044" y="372372"/>
                  <a:ext cx="539565" cy="281183"/>
                </a:xfrm>
                <a:custGeom>
                  <a:avLst/>
                  <a:gdLst>
                    <a:gd name="T0" fmla="*/ 73 w 93"/>
                    <a:gd name="T1" fmla="*/ 2 h 49"/>
                    <a:gd name="T2" fmla="*/ 61 w 93"/>
                    <a:gd name="T3" fmla="*/ 0 h 49"/>
                    <a:gd name="T4" fmla="*/ 56 w 93"/>
                    <a:gd name="T5" fmla="*/ 1 h 49"/>
                    <a:gd name="T6" fmla="*/ 55 w 93"/>
                    <a:gd name="T7" fmla="*/ 1 h 49"/>
                    <a:gd name="T8" fmla="*/ 48 w 93"/>
                    <a:gd name="T9" fmla="*/ 2 h 49"/>
                    <a:gd name="T10" fmla="*/ 42 w 93"/>
                    <a:gd name="T11" fmla="*/ 3 h 49"/>
                    <a:gd name="T12" fmla="*/ 33 w 93"/>
                    <a:gd name="T13" fmla="*/ 7 h 49"/>
                    <a:gd name="T14" fmla="*/ 31 w 93"/>
                    <a:gd name="T15" fmla="*/ 8 h 49"/>
                    <a:gd name="T16" fmla="*/ 3 w 93"/>
                    <a:gd name="T17" fmla="*/ 39 h 49"/>
                    <a:gd name="T18" fmla="*/ 2 w 93"/>
                    <a:gd name="T19" fmla="*/ 41 h 49"/>
                    <a:gd name="T20" fmla="*/ 0 w 93"/>
                    <a:gd name="T21" fmla="*/ 47 h 49"/>
                    <a:gd name="T22" fmla="*/ 1 w 93"/>
                    <a:gd name="T23" fmla="*/ 49 h 49"/>
                    <a:gd name="T24" fmla="*/ 4 w 93"/>
                    <a:gd name="T25" fmla="*/ 42 h 49"/>
                    <a:gd name="T26" fmla="*/ 5 w 93"/>
                    <a:gd name="T27" fmla="*/ 40 h 49"/>
                    <a:gd name="T28" fmla="*/ 32 w 93"/>
                    <a:gd name="T29" fmla="*/ 10 h 49"/>
                    <a:gd name="T30" fmla="*/ 34 w 93"/>
                    <a:gd name="T31" fmla="*/ 9 h 49"/>
                    <a:gd name="T32" fmla="*/ 39 w 93"/>
                    <a:gd name="T33" fmla="*/ 6 h 49"/>
                    <a:gd name="T34" fmla="*/ 45 w 93"/>
                    <a:gd name="T35" fmla="*/ 5 h 49"/>
                    <a:gd name="T36" fmla="*/ 56 w 93"/>
                    <a:gd name="T37" fmla="*/ 3 h 49"/>
                    <a:gd name="T38" fmla="*/ 57 w 93"/>
                    <a:gd name="T39" fmla="*/ 3 h 49"/>
                    <a:gd name="T40" fmla="*/ 61 w 93"/>
                    <a:gd name="T41" fmla="*/ 2 h 49"/>
                    <a:gd name="T42" fmla="*/ 74 w 93"/>
                    <a:gd name="T43" fmla="*/ 4 h 49"/>
                    <a:gd name="T44" fmla="*/ 78 w 93"/>
                    <a:gd name="T45" fmla="*/ 5 h 49"/>
                    <a:gd name="T46" fmla="*/ 93 w 93"/>
                    <a:gd name="T47" fmla="*/ 12 h 49"/>
                    <a:gd name="T48" fmla="*/ 92 w 93"/>
                    <a:gd name="T49" fmla="*/ 9 h 49"/>
                    <a:gd name="T50" fmla="*/ 77 w 93"/>
                    <a:gd name="T51" fmla="*/ 3 h 49"/>
                    <a:gd name="T52" fmla="*/ 73 w 93"/>
                    <a:gd name="T53"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49">
                      <a:moveTo>
                        <a:pt x="73" y="2"/>
                      </a:moveTo>
                      <a:cubicBezTo>
                        <a:pt x="69" y="1"/>
                        <a:pt x="65" y="0"/>
                        <a:pt x="61" y="0"/>
                      </a:cubicBezTo>
                      <a:cubicBezTo>
                        <a:pt x="59" y="0"/>
                        <a:pt x="58" y="0"/>
                        <a:pt x="56" y="1"/>
                      </a:cubicBezTo>
                      <a:cubicBezTo>
                        <a:pt x="56" y="1"/>
                        <a:pt x="56" y="1"/>
                        <a:pt x="55" y="1"/>
                      </a:cubicBezTo>
                      <a:cubicBezTo>
                        <a:pt x="53" y="1"/>
                        <a:pt x="50" y="1"/>
                        <a:pt x="48" y="2"/>
                      </a:cubicBezTo>
                      <a:cubicBezTo>
                        <a:pt x="46" y="2"/>
                        <a:pt x="44" y="3"/>
                        <a:pt x="42" y="3"/>
                      </a:cubicBezTo>
                      <a:cubicBezTo>
                        <a:pt x="39" y="4"/>
                        <a:pt x="36" y="6"/>
                        <a:pt x="33" y="7"/>
                      </a:cubicBezTo>
                      <a:cubicBezTo>
                        <a:pt x="32" y="8"/>
                        <a:pt x="31" y="8"/>
                        <a:pt x="31" y="8"/>
                      </a:cubicBezTo>
                      <a:cubicBezTo>
                        <a:pt x="19" y="15"/>
                        <a:pt x="9" y="26"/>
                        <a:pt x="3" y="39"/>
                      </a:cubicBezTo>
                      <a:cubicBezTo>
                        <a:pt x="3" y="39"/>
                        <a:pt x="2" y="40"/>
                        <a:pt x="2" y="41"/>
                      </a:cubicBezTo>
                      <a:cubicBezTo>
                        <a:pt x="1" y="43"/>
                        <a:pt x="0" y="45"/>
                        <a:pt x="0" y="47"/>
                      </a:cubicBezTo>
                      <a:cubicBezTo>
                        <a:pt x="0" y="48"/>
                        <a:pt x="1" y="48"/>
                        <a:pt x="1" y="49"/>
                      </a:cubicBezTo>
                      <a:cubicBezTo>
                        <a:pt x="2" y="47"/>
                        <a:pt x="3" y="45"/>
                        <a:pt x="4" y="42"/>
                      </a:cubicBezTo>
                      <a:cubicBezTo>
                        <a:pt x="4" y="41"/>
                        <a:pt x="4" y="41"/>
                        <a:pt x="5" y="40"/>
                      </a:cubicBezTo>
                      <a:cubicBezTo>
                        <a:pt x="10" y="27"/>
                        <a:pt x="20" y="16"/>
                        <a:pt x="32" y="10"/>
                      </a:cubicBezTo>
                      <a:cubicBezTo>
                        <a:pt x="32" y="10"/>
                        <a:pt x="33" y="9"/>
                        <a:pt x="34" y="9"/>
                      </a:cubicBezTo>
                      <a:cubicBezTo>
                        <a:pt x="36" y="8"/>
                        <a:pt x="38" y="7"/>
                        <a:pt x="39" y="6"/>
                      </a:cubicBezTo>
                      <a:cubicBezTo>
                        <a:pt x="41" y="6"/>
                        <a:pt x="43" y="5"/>
                        <a:pt x="45" y="5"/>
                      </a:cubicBezTo>
                      <a:cubicBezTo>
                        <a:pt x="49" y="4"/>
                        <a:pt x="52" y="3"/>
                        <a:pt x="56" y="3"/>
                      </a:cubicBezTo>
                      <a:cubicBezTo>
                        <a:pt x="56" y="3"/>
                        <a:pt x="56" y="3"/>
                        <a:pt x="57" y="3"/>
                      </a:cubicBezTo>
                      <a:cubicBezTo>
                        <a:pt x="58" y="3"/>
                        <a:pt x="59" y="2"/>
                        <a:pt x="61" y="2"/>
                      </a:cubicBezTo>
                      <a:cubicBezTo>
                        <a:pt x="65" y="2"/>
                        <a:pt x="70" y="3"/>
                        <a:pt x="74" y="4"/>
                      </a:cubicBezTo>
                      <a:cubicBezTo>
                        <a:pt x="76" y="4"/>
                        <a:pt x="77" y="5"/>
                        <a:pt x="78" y="5"/>
                      </a:cubicBezTo>
                      <a:cubicBezTo>
                        <a:pt x="83" y="7"/>
                        <a:pt x="88" y="9"/>
                        <a:pt x="93" y="12"/>
                      </a:cubicBezTo>
                      <a:cubicBezTo>
                        <a:pt x="93" y="11"/>
                        <a:pt x="92" y="10"/>
                        <a:pt x="92" y="9"/>
                      </a:cubicBezTo>
                      <a:cubicBezTo>
                        <a:pt x="87" y="6"/>
                        <a:pt x="82" y="4"/>
                        <a:pt x="77" y="3"/>
                      </a:cubicBezTo>
                      <a:cubicBezTo>
                        <a:pt x="75" y="2"/>
                        <a:pt x="74" y="2"/>
                        <a:pt x="7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52" name="Freeform 144"/>
                <p:cNvSpPr>
                  <a:spLocks noEditPoints="1"/>
                </p:cNvSpPr>
                <p:nvPr userDrawn="1"/>
              </p:nvSpPr>
              <p:spPr bwMode="auto">
                <a:xfrm>
                  <a:off x="-2369641" y="151989"/>
                  <a:ext cx="668753" cy="668753"/>
                </a:xfrm>
                <a:custGeom>
                  <a:avLst/>
                  <a:gdLst>
                    <a:gd name="T0" fmla="*/ 85 w 116"/>
                    <a:gd name="T1" fmla="*/ 7 h 115"/>
                    <a:gd name="T2" fmla="*/ 57 w 116"/>
                    <a:gd name="T3" fmla="*/ 0 h 115"/>
                    <a:gd name="T4" fmla="*/ 51 w 116"/>
                    <a:gd name="T5" fmla="*/ 0 h 115"/>
                    <a:gd name="T6" fmla="*/ 37 w 116"/>
                    <a:gd name="T7" fmla="*/ 4 h 115"/>
                    <a:gd name="T8" fmla="*/ 5 w 116"/>
                    <a:gd name="T9" fmla="*/ 34 h 115"/>
                    <a:gd name="T10" fmla="*/ 0 w 116"/>
                    <a:gd name="T11" fmla="*/ 57 h 115"/>
                    <a:gd name="T12" fmla="*/ 0 w 116"/>
                    <a:gd name="T13" fmla="*/ 62 h 115"/>
                    <a:gd name="T14" fmla="*/ 14 w 116"/>
                    <a:gd name="T15" fmla="*/ 96 h 115"/>
                    <a:gd name="T16" fmla="*/ 46 w 116"/>
                    <a:gd name="T17" fmla="*/ 114 h 115"/>
                    <a:gd name="T18" fmla="*/ 50 w 116"/>
                    <a:gd name="T19" fmla="*/ 115 h 115"/>
                    <a:gd name="T20" fmla="*/ 89 w 116"/>
                    <a:gd name="T21" fmla="*/ 106 h 115"/>
                    <a:gd name="T22" fmla="*/ 103 w 116"/>
                    <a:gd name="T23" fmla="*/ 94 h 115"/>
                    <a:gd name="T24" fmla="*/ 113 w 116"/>
                    <a:gd name="T25" fmla="*/ 75 h 115"/>
                    <a:gd name="T26" fmla="*/ 116 w 116"/>
                    <a:gd name="T27" fmla="*/ 58 h 115"/>
                    <a:gd name="T28" fmla="*/ 115 w 116"/>
                    <a:gd name="T29" fmla="*/ 52 h 115"/>
                    <a:gd name="T30" fmla="*/ 104 w 116"/>
                    <a:gd name="T31" fmla="*/ 23 h 115"/>
                    <a:gd name="T32" fmla="*/ 107 w 116"/>
                    <a:gd name="T33" fmla="*/ 46 h 115"/>
                    <a:gd name="T34" fmla="*/ 109 w 116"/>
                    <a:gd name="T35" fmla="*/ 58 h 115"/>
                    <a:gd name="T36" fmla="*/ 105 w 116"/>
                    <a:gd name="T37" fmla="*/ 76 h 115"/>
                    <a:gd name="T38" fmla="*/ 94 w 116"/>
                    <a:gd name="T39" fmla="*/ 93 h 115"/>
                    <a:gd name="T40" fmla="*/ 58 w 116"/>
                    <a:gd name="T41" fmla="*/ 108 h 115"/>
                    <a:gd name="T42" fmla="*/ 54 w 116"/>
                    <a:gd name="T43" fmla="*/ 108 h 115"/>
                    <a:gd name="T44" fmla="*/ 40 w 116"/>
                    <a:gd name="T45" fmla="*/ 105 h 115"/>
                    <a:gd name="T46" fmla="*/ 15 w 116"/>
                    <a:gd name="T47" fmla="*/ 84 h 115"/>
                    <a:gd name="T48" fmla="*/ 8 w 116"/>
                    <a:gd name="T49" fmla="*/ 67 h 115"/>
                    <a:gd name="T50" fmla="*/ 11 w 116"/>
                    <a:gd name="T51" fmla="*/ 38 h 115"/>
                    <a:gd name="T52" fmla="*/ 35 w 116"/>
                    <a:gd name="T53" fmla="*/ 12 h 115"/>
                    <a:gd name="T54" fmla="*/ 58 w 116"/>
                    <a:gd name="T55" fmla="*/ 7 h 115"/>
                    <a:gd name="T56" fmla="*/ 60 w 116"/>
                    <a:gd name="T57" fmla="*/ 7 h 115"/>
                    <a:gd name="T58" fmla="*/ 64 w 116"/>
                    <a:gd name="T59" fmla="*/ 7 h 115"/>
                    <a:gd name="T60" fmla="*/ 83 w 116"/>
                    <a:gd name="T61" fmla="*/ 14 h 115"/>
                    <a:gd name="T62" fmla="*/ 97 w 116"/>
                    <a:gd name="T63" fmla="*/ 2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6" h="115">
                      <a:moveTo>
                        <a:pt x="87" y="8"/>
                      </a:moveTo>
                      <a:cubicBezTo>
                        <a:pt x="87" y="7"/>
                        <a:pt x="86" y="7"/>
                        <a:pt x="85" y="7"/>
                      </a:cubicBezTo>
                      <a:cubicBezTo>
                        <a:pt x="77" y="2"/>
                        <a:pt x="68" y="0"/>
                        <a:pt x="58" y="0"/>
                      </a:cubicBezTo>
                      <a:cubicBezTo>
                        <a:pt x="57" y="0"/>
                        <a:pt x="57" y="0"/>
                        <a:pt x="57" y="0"/>
                      </a:cubicBezTo>
                      <a:cubicBezTo>
                        <a:pt x="56" y="0"/>
                        <a:pt x="56" y="0"/>
                        <a:pt x="55" y="0"/>
                      </a:cubicBezTo>
                      <a:cubicBezTo>
                        <a:pt x="54" y="0"/>
                        <a:pt x="53" y="0"/>
                        <a:pt x="51" y="0"/>
                      </a:cubicBezTo>
                      <a:cubicBezTo>
                        <a:pt x="50" y="0"/>
                        <a:pt x="48" y="0"/>
                        <a:pt x="46" y="1"/>
                      </a:cubicBezTo>
                      <a:cubicBezTo>
                        <a:pt x="43" y="1"/>
                        <a:pt x="40" y="2"/>
                        <a:pt x="37" y="4"/>
                      </a:cubicBezTo>
                      <a:cubicBezTo>
                        <a:pt x="36" y="4"/>
                        <a:pt x="36" y="4"/>
                        <a:pt x="35" y="4"/>
                      </a:cubicBezTo>
                      <a:cubicBezTo>
                        <a:pt x="22" y="10"/>
                        <a:pt x="11" y="21"/>
                        <a:pt x="5" y="34"/>
                      </a:cubicBezTo>
                      <a:cubicBezTo>
                        <a:pt x="5" y="35"/>
                        <a:pt x="4" y="35"/>
                        <a:pt x="4" y="36"/>
                      </a:cubicBezTo>
                      <a:cubicBezTo>
                        <a:pt x="2" y="42"/>
                        <a:pt x="0" y="49"/>
                        <a:pt x="0" y="57"/>
                      </a:cubicBezTo>
                      <a:cubicBezTo>
                        <a:pt x="0" y="57"/>
                        <a:pt x="0" y="57"/>
                        <a:pt x="0" y="58"/>
                      </a:cubicBezTo>
                      <a:cubicBezTo>
                        <a:pt x="0" y="59"/>
                        <a:pt x="0" y="60"/>
                        <a:pt x="0" y="62"/>
                      </a:cubicBezTo>
                      <a:cubicBezTo>
                        <a:pt x="1" y="74"/>
                        <a:pt x="6" y="85"/>
                        <a:pt x="13" y="93"/>
                      </a:cubicBezTo>
                      <a:cubicBezTo>
                        <a:pt x="13" y="94"/>
                        <a:pt x="14" y="95"/>
                        <a:pt x="14" y="96"/>
                      </a:cubicBezTo>
                      <a:cubicBezTo>
                        <a:pt x="22" y="104"/>
                        <a:pt x="31" y="110"/>
                        <a:pt x="42" y="113"/>
                      </a:cubicBezTo>
                      <a:cubicBezTo>
                        <a:pt x="44" y="114"/>
                        <a:pt x="45" y="114"/>
                        <a:pt x="46" y="114"/>
                      </a:cubicBezTo>
                      <a:cubicBezTo>
                        <a:pt x="47" y="114"/>
                        <a:pt x="48" y="114"/>
                        <a:pt x="48" y="115"/>
                      </a:cubicBezTo>
                      <a:cubicBezTo>
                        <a:pt x="49" y="115"/>
                        <a:pt x="49" y="115"/>
                        <a:pt x="50" y="115"/>
                      </a:cubicBezTo>
                      <a:cubicBezTo>
                        <a:pt x="52" y="115"/>
                        <a:pt x="55" y="115"/>
                        <a:pt x="58" y="115"/>
                      </a:cubicBezTo>
                      <a:cubicBezTo>
                        <a:pt x="69" y="115"/>
                        <a:pt x="80" y="112"/>
                        <a:pt x="89" y="106"/>
                      </a:cubicBezTo>
                      <a:cubicBezTo>
                        <a:pt x="90" y="106"/>
                        <a:pt x="92" y="104"/>
                        <a:pt x="93" y="103"/>
                      </a:cubicBezTo>
                      <a:cubicBezTo>
                        <a:pt x="97" y="101"/>
                        <a:pt x="100" y="97"/>
                        <a:pt x="103" y="94"/>
                      </a:cubicBezTo>
                      <a:cubicBezTo>
                        <a:pt x="104" y="92"/>
                        <a:pt x="105" y="91"/>
                        <a:pt x="106" y="90"/>
                      </a:cubicBezTo>
                      <a:cubicBezTo>
                        <a:pt x="109" y="86"/>
                        <a:pt x="111" y="81"/>
                        <a:pt x="113" y="75"/>
                      </a:cubicBezTo>
                      <a:cubicBezTo>
                        <a:pt x="113" y="74"/>
                        <a:pt x="113" y="74"/>
                        <a:pt x="114" y="73"/>
                      </a:cubicBezTo>
                      <a:cubicBezTo>
                        <a:pt x="115" y="68"/>
                        <a:pt x="116" y="63"/>
                        <a:pt x="116" y="58"/>
                      </a:cubicBezTo>
                      <a:cubicBezTo>
                        <a:pt x="116" y="57"/>
                        <a:pt x="116" y="56"/>
                        <a:pt x="116" y="55"/>
                      </a:cubicBezTo>
                      <a:cubicBezTo>
                        <a:pt x="116" y="54"/>
                        <a:pt x="116" y="53"/>
                        <a:pt x="115" y="52"/>
                      </a:cubicBezTo>
                      <a:cubicBezTo>
                        <a:pt x="115" y="43"/>
                        <a:pt x="112" y="34"/>
                        <a:pt x="107" y="27"/>
                      </a:cubicBezTo>
                      <a:cubicBezTo>
                        <a:pt x="106" y="25"/>
                        <a:pt x="105" y="24"/>
                        <a:pt x="104" y="23"/>
                      </a:cubicBezTo>
                      <a:cubicBezTo>
                        <a:pt x="100" y="17"/>
                        <a:pt x="94" y="12"/>
                        <a:pt x="87" y="8"/>
                      </a:cubicBezTo>
                      <a:close/>
                      <a:moveTo>
                        <a:pt x="107" y="46"/>
                      </a:moveTo>
                      <a:cubicBezTo>
                        <a:pt x="107" y="47"/>
                        <a:pt x="108" y="48"/>
                        <a:pt x="108" y="49"/>
                      </a:cubicBezTo>
                      <a:cubicBezTo>
                        <a:pt x="108" y="52"/>
                        <a:pt x="109" y="55"/>
                        <a:pt x="109" y="58"/>
                      </a:cubicBezTo>
                      <a:cubicBezTo>
                        <a:pt x="109" y="63"/>
                        <a:pt x="108" y="69"/>
                        <a:pt x="106" y="74"/>
                      </a:cubicBezTo>
                      <a:cubicBezTo>
                        <a:pt x="106" y="74"/>
                        <a:pt x="105" y="75"/>
                        <a:pt x="105" y="76"/>
                      </a:cubicBezTo>
                      <a:cubicBezTo>
                        <a:pt x="103" y="80"/>
                        <a:pt x="101" y="85"/>
                        <a:pt x="98" y="89"/>
                      </a:cubicBezTo>
                      <a:cubicBezTo>
                        <a:pt x="97" y="90"/>
                        <a:pt x="95" y="92"/>
                        <a:pt x="94" y="93"/>
                      </a:cubicBezTo>
                      <a:cubicBezTo>
                        <a:pt x="93" y="94"/>
                        <a:pt x="92" y="95"/>
                        <a:pt x="91" y="96"/>
                      </a:cubicBezTo>
                      <a:cubicBezTo>
                        <a:pt x="82" y="104"/>
                        <a:pt x="70" y="108"/>
                        <a:pt x="58" y="108"/>
                      </a:cubicBezTo>
                      <a:cubicBezTo>
                        <a:pt x="57" y="108"/>
                        <a:pt x="56" y="108"/>
                        <a:pt x="55" y="108"/>
                      </a:cubicBezTo>
                      <a:cubicBezTo>
                        <a:pt x="55" y="108"/>
                        <a:pt x="54" y="108"/>
                        <a:pt x="54" y="108"/>
                      </a:cubicBezTo>
                      <a:cubicBezTo>
                        <a:pt x="50" y="108"/>
                        <a:pt x="47" y="107"/>
                        <a:pt x="44" y="106"/>
                      </a:cubicBezTo>
                      <a:cubicBezTo>
                        <a:pt x="43" y="106"/>
                        <a:pt x="42" y="105"/>
                        <a:pt x="40" y="105"/>
                      </a:cubicBezTo>
                      <a:cubicBezTo>
                        <a:pt x="31" y="101"/>
                        <a:pt x="22" y="95"/>
                        <a:pt x="16" y="86"/>
                      </a:cubicBezTo>
                      <a:cubicBezTo>
                        <a:pt x="16" y="85"/>
                        <a:pt x="15" y="85"/>
                        <a:pt x="15" y="84"/>
                      </a:cubicBezTo>
                      <a:cubicBezTo>
                        <a:pt x="12" y="80"/>
                        <a:pt x="11" y="76"/>
                        <a:pt x="9" y="72"/>
                      </a:cubicBezTo>
                      <a:cubicBezTo>
                        <a:pt x="9" y="70"/>
                        <a:pt x="8" y="68"/>
                        <a:pt x="8" y="67"/>
                      </a:cubicBezTo>
                      <a:cubicBezTo>
                        <a:pt x="8" y="64"/>
                        <a:pt x="7" y="61"/>
                        <a:pt x="7" y="58"/>
                      </a:cubicBezTo>
                      <a:cubicBezTo>
                        <a:pt x="7" y="50"/>
                        <a:pt x="9" y="44"/>
                        <a:pt x="11" y="38"/>
                      </a:cubicBezTo>
                      <a:cubicBezTo>
                        <a:pt x="12" y="37"/>
                        <a:pt x="12" y="36"/>
                        <a:pt x="12" y="36"/>
                      </a:cubicBezTo>
                      <a:cubicBezTo>
                        <a:pt x="17" y="26"/>
                        <a:pt x="25" y="17"/>
                        <a:pt x="35" y="12"/>
                      </a:cubicBezTo>
                      <a:cubicBezTo>
                        <a:pt x="36" y="12"/>
                        <a:pt x="36" y="12"/>
                        <a:pt x="37" y="11"/>
                      </a:cubicBezTo>
                      <a:cubicBezTo>
                        <a:pt x="43" y="9"/>
                        <a:pt x="50" y="7"/>
                        <a:pt x="58" y="7"/>
                      </a:cubicBezTo>
                      <a:cubicBezTo>
                        <a:pt x="58" y="7"/>
                        <a:pt x="58" y="7"/>
                        <a:pt x="58" y="7"/>
                      </a:cubicBezTo>
                      <a:cubicBezTo>
                        <a:pt x="59" y="7"/>
                        <a:pt x="59" y="7"/>
                        <a:pt x="60" y="7"/>
                      </a:cubicBezTo>
                      <a:cubicBezTo>
                        <a:pt x="60" y="7"/>
                        <a:pt x="61" y="7"/>
                        <a:pt x="61" y="7"/>
                      </a:cubicBezTo>
                      <a:cubicBezTo>
                        <a:pt x="62" y="7"/>
                        <a:pt x="63" y="7"/>
                        <a:pt x="64" y="7"/>
                      </a:cubicBezTo>
                      <a:cubicBezTo>
                        <a:pt x="70" y="8"/>
                        <a:pt x="76" y="10"/>
                        <a:pt x="81" y="13"/>
                      </a:cubicBezTo>
                      <a:cubicBezTo>
                        <a:pt x="82" y="13"/>
                        <a:pt x="82" y="13"/>
                        <a:pt x="83" y="14"/>
                      </a:cubicBezTo>
                      <a:cubicBezTo>
                        <a:pt x="87" y="16"/>
                        <a:pt x="91" y="19"/>
                        <a:pt x="94" y="22"/>
                      </a:cubicBezTo>
                      <a:cubicBezTo>
                        <a:pt x="95" y="23"/>
                        <a:pt x="96" y="24"/>
                        <a:pt x="97" y="25"/>
                      </a:cubicBezTo>
                      <a:cubicBezTo>
                        <a:pt x="102" y="31"/>
                        <a:pt x="105" y="38"/>
                        <a:pt x="107" y="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grpSp>
          <p:sp>
            <p:nvSpPr>
              <p:cNvPr id="19" name="Subtitle 2"/>
              <p:cNvSpPr txBox="1">
                <a:spLocks/>
              </p:cNvSpPr>
              <p:nvPr userDrawn="1"/>
            </p:nvSpPr>
            <p:spPr>
              <a:xfrm>
                <a:off x="1214906" y="3776542"/>
                <a:ext cx="3498820" cy="487048"/>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2000" dirty="0">
                    <a:solidFill>
                      <a:schemeClr val="bg1"/>
                    </a:solidFill>
                    <a:latin typeface="+mj-lt"/>
                  </a:rPr>
                  <a:t>www.velrada.com</a:t>
                </a:r>
              </a:p>
            </p:txBody>
          </p:sp>
        </p:grpSp>
        <p:grpSp>
          <p:nvGrpSpPr>
            <p:cNvPr id="53" name="Group 52"/>
            <p:cNvGrpSpPr/>
            <p:nvPr userDrawn="1"/>
          </p:nvGrpSpPr>
          <p:grpSpPr>
            <a:xfrm>
              <a:off x="6314807" y="2510412"/>
              <a:ext cx="2442241" cy="519233"/>
              <a:chOff x="391261" y="4603148"/>
              <a:chExt cx="3552229" cy="755222"/>
            </a:xfrm>
          </p:grpSpPr>
          <p:grpSp>
            <p:nvGrpSpPr>
              <p:cNvPr id="54" name="Group 53"/>
              <p:cNvGrpSpPr/>
              <p:nvPr userDrawn="1"/>
            </p:nvGrpSpPr>
            <p:grpSpPr>
              <a:xfrm>
                <a:off x="391261" y="4603148"/>
                <a:ext cx="755222" cy="755222"/>
                <a:chOff x="-2529227" y="1261512"/>
                <a:chExt cx="980334" cy="980334"/>
              </a:xfrm>
            </p:grpSpPr>
            <p:sp>
              <p:nvSpPr>
                <p:cNvPr id="56" name="Oval 103"/>
                <p:cNvSpPr>
                  <a:spLocks noChangeArrowheads="1"/>
                </p:cNvSpPr>
                <p:nvPr userDrawn="1"/>
              </p:nvSpPr>
              <p:spPr bwMode="auto">
                <a:xfrm>
                  <a:off x="-2529227" y="1261512"/>
                  <a:ext cx="980334" cy="98033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57" name="Freeform 104"/>
                <p:cNvSpPr>
                  <a:spLocks/>
                </p:cNvSpPr>
                <p:nvPr userDrawn="1"/>
              </p:nvSpPr>
              <p:spPr bwMode="auto">
                <a:xfrm>
                  <a:off x="-2232850" y="1459098"/>
                  <a:ext cx="410371" cy="577560"/>
                </a:xfrm>
                <a:custGeom>
                  <a:avLst/>
                  <a:gdLst>
                    <a:gd name="T0" fmla="*/ 0 w 71"/>
                    <a:gd name="T1" fmla="*/ 24 h 100"/>
                    <a:gd name="T2" fmla="*/ 41 w 71"/>
                    <a:gd name="T3" fmla="*/ 95 h 100"/>
                    <a:gd name="T4" fmla="*/ 71 w 71"/>
                    <a:gd name="T5" fmla="*/ 82 h 100"/>
                    <a:gd name="T6" fmla="*/ 54 w 71"/>
                    <a:gd name="T7" fmla="*/ 66 h 100"/>
                    <a:gd name="T8" fmla="*/ 40 w 71"/>
                    <a:gd name="T9" fmla="*/ 73 h 100"/>
                    <a:gd name="T10" fmla="*/ 25 w 71"/>
                    <a:gd name="T11" fmla="*/ 55 h 100"/>
                    <a:gd name="T12" fmla="*/ 19 w 71"/>
                    <a:gd name="T13" fmla="*/ 33 h 100"/>
                    <a:gd name="T14" fmla="*/ 31 w 71"/>
                    <a:gd name="T15" fmla="*/ 26 h 100"/>
                    <a:gd name="T16" fmla="*/ 20 w 71"/>
                    <a:gd name="T17" fmla="*/ 0 h 100"/>
                    <a:gd name="T18" fmla="*/ 0 w 71"/>
                    <a:gd name="T19" fmla="*/ 2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100">
                      <a:moveTo>
                        <a:pt x="0" y="24"/>
                      </a:moveTo>
                      <a:cubicBezTo>
                        <a:pt x="2" y="72"/>
                        <a:pt x="36" y="93"/>
                        <a:pt x="41" y="95"/>
                      </a:cubicBezTo>
                      <a:cubicBezTo>
                        <a:pt x="54" y="100"/>
                        <a:pt x="66" y="95"/>
                        <a:pt x="71" y="82"/>
                      </a:cubicBezTo>
                      <a:cubicBezTo>
                        <a:pt x="71" y="82"/>
                        <a:pt x="60" y="70"/>
                        <a:pt x="54" y="66"/>
                      </a:cubicBezTo>
                      <a:cubicBezTo>
                        <a:pt x="40" y="73"/>
                        <a:pt x="40" y="73"/>
                        <a:pt x="40" y="73"/>
                      </a:cubicBezTo>
                      <a:cubicBezTo>
                        <a:pt x="40" y="73"/>
                        <a:pt x="34" y="72"/>
                        <a:pt x="25" y="55"/>
                      </a:cubicBezTo>
                      <a:cubicBezTo>
                        <a:pt x="17" y="39"/>
                        <a:pt x="19" y="33"/>
                        <a:pt x="19" y="33"/>
                      </a:cubicBezTo>
                      <a:cubicBezTo>
                        <a:pt x="31" y="26"/>
                        <a:pt x="31" y="26"/>
                        <a:pt x="31" y="26"/>
                      </a:cubicBezTo>
                      <a:cubicBezTo>
                        <a:pt x="32" y="17"/>
                        <a:pt x="31" y="0"/>
                        <a:pt x="20" y="0"/>
                      </a:cubicBezTo>
                      <a:cubicBezTo>
                        <a:pt x="8" y="0"/>
                        <a:pt x="0" y="14"/>
                        <a:pt x="0"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grpSp>
          <p:sp>
            <p:nvSpPr>
              <p:cNvPr id="55" name="Subtitle 2"/>
              <p:cNvSpPr txBox="1">
                <a:spLocks/>
              </p:cNvSpPr>
              <p:nvPr userDrawn="1"/>
            </p:nvSpPr>
            <p:spPr>
              <a:xfrm>
                <a:off x="1172685" y="4740629"/>
                <a:ext cx="2770805" cy="487048"/>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2000" dirty="0">
                    <a:solidFill>
                      <a:schemeClr val="bg1"/>
                    </a:solidFill>
                    <a:latin typeface="+mj-lt"/>
                  </a:rPr>
                  <a:t>1300 835 723</a:t>
                </a:r>
              </a:p>
            </p:txBody>
          </p:sp>
        </p:grpSp>
        <p:grpSp>
          <p:nvGrpSpPr>
            <p:cNvPr id="58" name="Group 57"/>
            <p:cNvGrpSpPr/>
            <p:nvPr userDrawn="1"/>
          </p:nvGrpSpPr>
          <p:grpSpPr>
            <a:xfrm>
              <a:off x="6314807" y="1871495"/>
              <a:ext cx="3296054" cy="519233"/>
              <a:chOff x="4110482" y="3631314"/>
              <a:chExt cx="4794097" cy="755222"/>
            </a:xfrm>
          </p:grpSpPr>
          <p:grpSp>
            <p:nvGrpSpPr>
              <p:cNvPr id="59" name="Group 58"/>
              <p:cNvGrpSpPr/>
              <p:nvPr userDrawn="1"/>
            </p:nvGrpSpPr>
            <p:grpSpPr>
              <a:xfrm>
                <a:off x="4110482" y="3631314"/>
                <a:ext cx="755222" cy="755222"/>
                <a:chOff x="-2529227" y="2523024"/>
                <a:chExt cx="980334" cy="980334"/>
              </a:xfrm>
            </p:grpSpPr>
            <p:sp>
              <p:nvSpPr>
                <p:cNvPr id="61" name="Oval 101"/>
                <p:cNvSpPr>
                  <a:spLocks noChangeArrowheads="1"/>
                </p:cNvSpPr>
                <p:nvPr userDrawn="1"/>
              </p:nvSpPr>
              <p:spPr bwMode="auto">
                <a:xfrm>
                  <a:off x="-2529227" y="2523024"/>
                  <a:ext cx="980334" cy="98033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62" name="Freeform 105"/>
                <p:cNvSpPr>
                  <a:spLocks noEditPoints="1"/>
                </p:cNvSpPr>
                <p:nvPr userDrawn="1"/>
              </p:nvSpPr>
              <p:spPr bwMode="auto">
                <a:xfrm>
                  <a:off x="-2308845" y="2849799"/>
                  <a:ext cx="531963" cy="334377"/>
                </a:xfrm>
                <a:custGeom>
                  <a:avLst/>
                  <a:gdLst>
                    <a:gd name="T0" fmla="*/ 35 w 70"/>
                    <a:gd name="T1" fmla="*/ 35 h 44"/>
                    <a:gd name="T2" fmla="*/ 0 w 70"/>
                    <a:gd name="T3" fmla="*/ 5 h 44"/>
                    <a:gd name="T4" fmla="*/ 0 w 70"/>
                    <a:gd name="T5" fmla="*/ 44 h 44"/>
                    <a:gd name="T6" fmla="*/ 70 w 70"/>
                    <a:gd name="T7" fmla="*/ 44 h 44"/>
                    <a:gd name="T8" fmla="*/ 70 w 70"/>
                    <a:gd name="T9" fmla="*/ 5 h 44"/>
                    <a:gd name="T10" fmla="*/ 35 w 70"/>
                    <a:gd name="T11" fmla="*/ 35 h 44"/>
                    <a:gd name="T12" fmla="*/ 70 w 70"/>
                    <a:gd name="T13" fmla="*/ 0 h 44"/>
                    <a:gd name="T14" fmla="*/ 1 w 70"/>
                    <a:gd name="T15" fmla="*/ 0 h 44"/>
                    <a:gd name="T16" fmla="*/ 35 w 70"/>
                    <a:gd name="T17" fmla="*/ 29 h 44"/>
                    <a:gd name="T18" fmla="*/ 70 w 70"/>
                    <a:gd name="T1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44">
                      <a:moveTo>
                        <a:pt x="35" y="35"/>
                      </a:moveTo>
                      <a:lnTo>
                        <a:pt x="0" y="5"/>
                      </a:lnTo>
                      <a:lnTo>
                        <a:pt x="0" y="44"/>
                      </a:lnTo>
                      <a:lnTo>
                        <a:pt x="70" y="44"/>
                      </a:lnTo>
                      <a:lnTo>
                        <a:pt x="70" y="5"/>
                      </a:lnTo>
                      <a:lnTo>
                        <a:pt x="35" y="35"/>
                      </a:lnTo>
                      <a:close/>
                      <a:moveTo>
                        <a:pt x="70" y="0"/>
                      </a:moveTo>
                      <a:lnTo>
                        <a:pt x="1" y="0"/>
                      </a:lnTo>
                      <a:lnTo>
                        <a:pt x="35" y="29"/>
                      </a:lnTo>
                      <a:lnTo>
                        <a:pt x="7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grpSp>
          <p:sp>
            <p:nvSpPr>
              <p:cNvPr id="60" name="Subtitle 2"/>
              <p:cNvSpPr txBox="1">
                <a:spLocks/>
              </p:cNvSpPr>
              <p:nvPr userDrawn="1"/>
            </p:nvSpPr>
            <p:spPr>
              <a:xfrm>
                <a:off x="4943607" y="3776542"/>
                <a:ext cx="3960972" cy="487048"/>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2000" dirty="0">
                    <a:solidFill>
                      <a:schemeClr val="bg1"/>
                    </a:solidFill>
                    <a:latin typeface="+mj-lt"/>
                  </a:rPr>
                  <a:t>info@velrada.com</a:t>
                </a:r>
              </a:p>
            </p:txBody>
          </p:sp>
        </p:grpSp>
        <p:grpSp>
          <p:nvGrpSpPr>
            <p:cNvPr id="73" name="Group 72"/>
            <p:cNvGrpSpPr/>
            <p:nvPr userDrawn="1"/>
          </p:nvGrpSpPr>
          <p:grpSpPr>
            <a:xfrm>
              <a:off x="6314807" y="3149330"/>
              <a:ext cx="5151043" cy="519233"/>
              <a:chOff x="7829703" y="4603148"/>
              <a:chExt cx="7492171" cy="755222"/>
            </a:xfrm>
          </p:grpSpPr>
          <p:grpSp>
            <p:nvGrpSpPr>
              <p:cNvPr id="74" name="Group 73"/>
              <p:cNvGrpSpPr/>
              <p:nvPr userDrawn="1"/>
            </p:nvGrpSpPr>
            <p:grpSpPr>
              <a:xfrm>
                <a:off x="7829703" y="4603148"/>
                <a:ext cx="755222" cy="755222"/>
                <a:chOff x="-2529227" y="6322759"/>
                <a:chExt cx="980334" cy="980334"/>
              </a:xfrm>
            </p:grpSpPr>
            <p:sp>
              <p:nvSpPr>
                <p:cNvPr id="76" name="Oval 110"/>
                <p:cNvSpPr>
                  <a:spLocks noChangeArrowheads="1"/>
                </p:cNvSpPr>
                <p:nvPr userDrawn="1"/>
              </p:nvSpPr>
              <p:spPr bwMode="auto">
                <a:xfrm>
                  <a:off x="-2529227" y="6322759"/>
                  <a:ext cx="980334" cy="98033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grpSp>
              <p:nvGrpSpPr>
                <p:cNvPr id="77" name="Group 76"/>
                <p:cNvGrpSpPr/>
                <p:nvPr userDrawn="1"/>
              </p:nvGrpSpPr>
              <p:grpSpPr>
                <a:xfrm>
                  <a:off x="-2232850" y="6550743"/>
                  <a:ext cx="387575" cy="524366"/>
                  <a:chOff x="-2232850" y="6550743"/>
                  <a:chExt cx="387575" cy="524366"/>
                </a:xfrm>
              </p:grpSpPr>
              <p:sp>
                <p:nvSpPr>
                  <p:cNvPr id="78" name="Freeform 111"/>
                  <p:cNvSpPr>
                    <a:spLocks/>
                  </p:cNvSpPr>
                  <p:nvPr userDrawn="1"/>
                </p:nvSpPr>
                <p:spPr bwMode="auto">
                  <a:xfrm>
                    <a:off x="-2232850" y="6550743"/>
                    <a:ext cx="387575" cy="524366"/>
                  </a:xfrm>
                  <a:custGeom>
                    <a:avLst/>
                    <a:gdLst>
                      <a:gd name="T0" fmla="*/ 34 w 68"/>
                      <a:gd name="T1" fmla="*/ 90 h 90"/>
                      <a:gd name="T2" fmla="*/ 66 w 68"/>
                      <a:gd name="T3" fmla="*/ 42 h 90"/>
                      <a:gd name="T4" fmla="*/ 68 w 68"/>
                      <a:gd name="T5" fmla="*/ 35 h 90"/>
                      <a:gd name="T6" fmla="*/ 68 w 68"/>
                      <a:gd name="T7" fmla="*/ 32 h 90"/>
                      <a:gd name="T8" fmla="*/ 34 w 68"/>
                      <a:gd name="T9" fmla="*/ 0 h 90"/>
                      <a:gd name="T10" fmla="*/ 0 w 68"/>
                      <a:gd name="T11" fmla="*/ 32 h 90"/>
                      <a:gd name="T12" fmla="*/ 1 w 68"/>
                      <a:gd name="T13" fmla="*/ 36 h 90"/>
                      <a:gd name="T14" fmla="*/ 1 w 68"/>
                      <a:gd name="T15" fmla="*/ 36 h 90"/>
                      <a:gd name="T16" fmla="*/ 34 w 68"/>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90">
                        <a:moveTo>
                          <a:pt x="34" y="90"/>
                        </a:moveTo>
                        <a:cubicBezTo>
                          <a:pt x="56" y="70"/>
                          <a:pt x="64" y="52"/>
                          <a:pt x="66" y="42"/>
                        </a:cubicBezTo>
                        <a:cubicBezTo>
                          <a:pt x="67" y="40"/>
                          <a:pt x="68" y="37"/>
                          <a:pt x="68" y="35"/>
                        </a:cubicBezTo>
                        <a:cubicBezTo>
                          <a:pt x="68" y="33"/>
                          <a:pt x="68" y="32"/>
                          <a:pt x="68" y="32"/>
                        </a:cubicBezTo>
                        <a:cubicBezTo>
                          <a:pt x="68" y="15"/>
                          <a:pt x="53" y="0"/>
                          <a:pt x="34" y="0"/>
                        </a:cubicBezTo>
                        <a:cubicBezTo>
                          <a:pt x="16" y="0"/>
                          <a:pt x="0" y="15"/>
                          <a:pt x="0" y="32"/>
                        </a:cubicBezTo>
                        <a:cubicBezTo>
                          <a:pt x="0" y="33"/>
                          <a:pt x="1" y="35"/>
                          <a:pt x="1" y="36"/>
                        </a:cubicBezTo>
                        <a:cubicBezTo>
                          <a:pt x="1" y="36"/>
                          <a:pt x="1" y="36"/>
                          <a:pt x="1" y="36"/>
                        </a:cubicBezTo>
                        <a:cubicBezTo>
                          <a:pt x="3" y="62"/>
                          <a:pt x="34" y="90"/>
                          <a:pt x="34" y="9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79" name="Oval 112"/>
                  <p:cNvSpPr>
                    <a:spLocks noChangeArrowheads="1"/>
                  </p:cNvSpPr>
                  <p:nvPr userDrawn="1"/>
                </p:nvSpPr>
                <p:spPr bwMode="auto">
                  <a:xfrm>
                    <a:off x="-2164452" y="6611539"/>
                    <a:ext cx="250785" cy="250785"/>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grpSp>
          </p:grpSp>
          <p:sp>
            <p:nvSpPr>
              <p:cNvPr id="75" name="Subtitle 2"/>
              <p:cNvSpPr txBox="1">
                <a:spLocks/>
              </p:cNvSpPr>
              <p:nvPr userDrawn="1"/>
            </p:nvSpPr>
            <p:spPr>
              <a:xfrm>
                <a:off x="8662828" y="4740628"/>
                <a:ext cx="6659046" cy="487048"/>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2000" dirty="0">
                    <a:solidFill>
                      <a:schemeClr val="bg1"/>
                    </a:solidFill>
                    <a:latin typeface="+mj-lt"/>
                  </a:rPr>
                  <a:t>Australia. New Zealand. Singapore.</a:t>
                </a:r>
              </a:p>
            </p:txBody>
          </p:sp>
        </p:grpSp>
      </p:grpSp>
      <p:sp>
        <p:nvSpPr>
          <p:cNvPr id="88" name="Title 1"/>
          <p:cNvSpPr txBox="1">
            <a:spLocks/>
          </p:cNvSpPr>
          <p:nvPr userDrawn="1"/>
        </p:nvSpPr>
        <p:spPr>
          <a:xfrm>
            <a:off x="4994443" y="1526112"/>
            <a:ext cx="9526624" cy="879910"/>
          </a:xfrm>
          <a:prstGeom prst="rect">
            <a:avLst/>
          </a:prstGeom>
        </p:spPr>
        <p:txBody>
          <a:bodyPr>
            <a:noAutofit/>
          </a:bodyPr>
          <a:lstStyle>
            <a:lvl1pPr algn="l" defTabSz="896214" rtl="0" eaLnBrk="1" latinLnBrk="0" hangingPunct="1">
              <a:spcBef>
                <a:spcPct val="0"/>
              </a:spcBef>
              <a:buNone/>
              <a:defRPr sz="5000" kern="1200" baseline="0">
                <a:solidFill>
                  <a:schemeClr val="tx1"/>
                </a:solidFill>
                <a:latin typeface="Segoe UI Light" pitchFamily="34" charset="0"/>
                <a:ea typeface="+mj-ea"/>
                <a:cs typeface="+mj-cs"/>
              </a:defRPr>
            </a:lvl1pPr>
          </a:lstStyle>
          <a:p>
            <a:r>
              <a:rPr lang="en-US" b="1" spc="-150" dirty="0">
                <a:solidFill>
                  <a:schemeClr val="bg1"/>
                </a:solidFill>
                <a:latin typeface="+mn-lt"/>
              </a:rPr>
              <a:t>Make the leap.</a:t>
            </a:r>
          </a:p>
        </p:txBody>
      </p:sp>
    </p:spTree>
    <p:extLst>
      <p:ext uri="{BB962C8B-B14F-4D97-AF65-F5344CB8AC3E}">
        <p14:creationId xmlns:p14="http://schemas.microsoft.com/office/powerpoint/2010/main" val="2503065836"/>
      </p:ext>
    </p:extLst>
  </p:cSld>
  <p:clrMapOvr>
    <a:masterClrMapping/>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_&amp;_Subtitle_&amp;_pic">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4"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2313446442"/>
      </p:ext>
    </p:extLst>
  </p:cSld>
  <p:clrMapOvr>
    <a:masterClrMapping/>
  </p:clrMapOvr>
  <p:transition spd="slow">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_&amp;_Subtitle_&amp;_Content">
    <p:spTree>
      <p:nvGrpSpPr>
        <p:cNvPr id="1" name=""/>
        <p:cNvGrpSpPr/>
        <p:nvPr/>
      </p:nvGrpSpPr>
      <p:grpSpPr>
        <a:xfrm>
          <a:off x="0" y="0"/>
          <a:ext cx="0" cy="0"/>
          <a:chOff x="0" y="0"/>
          <a:chExt cx="0" cy="0"/>
        </a:xfrm>
      </p:grpSpPr>
      <p:sp>
        <p:nvSpPr>
          <p:cNvPr id="5" name="Text Placeholder 2"/>
          <p:cNvSpPr>
            <a:spLocks noGrp="1"/>
          </p:cNvSpPr>
          <p:nvPr>
            <p:ph idx="11" hasCustomPrompt="1"/>
          </p:nvPr>
        </p:nvSpPr>
        <p:spPr>
          <a:xfrm>
            <a:off x="556939" y="1781056"/>
            <a:ext cx="11088962"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4148058773"/>
      </p:ext>
    </p:extLst>
  </p:cSld>
  <p:clrMapOvr>
    <a:masterClrMapping/>
  </p:clrMapOvr>
  <p:transition spd="slow">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Text Placeholder 2"/>
          <p:cNvSpPr>
            <a:spLocks noGrp="1"/>
          </p:cNvSpPr>
          <p:nvPr>
            <p:ph idx="11" hasCustomPrompt="1"/>
          </p:nvPr>
        </p:nvSpPr>
        <p:spPr>
          <a:xfrm>
            <a:off x="552817" y="1792410"/>
            <a:ext cx="5465441"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p:cNvSpPr>
            <a:spLocks noGrp="1"/>
          </p:cNvSpPr>
          <p:nvPr>
            <p:ph idx="13" hasCustomPrompt="1"/>
          </p:nvPr>
        </p:nvSpPr>
        <p:spPr>
          <a:xfrm>
            <a:off x="6474902" y="1792410"/>
            <a:ext cx="5176614"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3830513275"/>
      </p:ext>
    </p:extLst>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
        <p:nvSpPr>
          <p:cNvPr id="6" name="Text Placeholder 3"/>
          <p:cNvSpPr>
            <a:spLocks noGrp="1"/>
          </p:cNvSpPr>
          <p:nvPr>
            <p:ph type="body" sz="quarter" idx="12" hasCustomPrompt="1"/>
          </p:nvPr>
        </p:nvSpPr>
        <p:spPr>
          <a:xfrm>
            <a:off x="556097" y="1070523"/>
            <a:ext cx="5403483"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
        <p:nvSpPr>
          <p:cNvPr id="7" name="Title Placeholder 1"/>
          <p:cNvSpPr>
            <a:spLocks noGrp="1"/>
          </p:cNvSpPr>
          <p:nvPr>
            <p:ph type="title" hasCustomPrompt="1"/>
          </p:nvPr>
        </p:nvSpPr>
        <p:spPr>
          <a:xfrm>
            <a:off x="556097" y="336127"/>
            <a:ext cx="540348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defRPr>
            </a:lvl1pPr>
          </a:lstStyle>
          <a:p>
            <a:r>
              <a:rPr lang="en-US" dirty="0"/>
              <a:t>Title</a:t>
            </a:r>
          </a:p>
        </p:txBody>
      </p:sp>
    </p:spTree>
    <p:extLst>
      <p:ext uri="{BB962C8B-B14F-4D97-AF65-F5344CB8AC3E}">
        <p14:creationId xmlns:p14="http://schemas.microsoft.com/office/powerpoint/2010/main" val="1642418007"/>
      </p:ext>
    </p:extLst>
  </p:cSld>
  <p:clrMapOvr>
    <a:masterClrMapping/>
  </p:clrMapOvr>
  <p:transition spd="slow">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_&amp;_Subtitle_&amp;_pic">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094" y="336132"/>
            <a:ext cx="11336415" cy="727715"/>
          </a:xfrm>
          <a:prstGeom prst="rect">
            <a:avLst/>
          </a:prstGeom>
        </p:spPr>
        <p:txBody>
          <a:bodyPr vert="horz" lIns="0" tIns="0" rIns="0" bIns="0" rtlCol="0" anchor="ctr">
            <a:normAutofit/>
          </a:bodyPr>
          <a:lstStyle>
            <a:lvl1pPr>
              <a:defRPr sz="4000" b="1" spc="-150">
                <a:solidFill>
                  <a:schemeClr val="tx1">
                    <a:lumMod val="50000"/>
                  </a:schemeClr>
                </a:solidFill>
                <a:latin typeface="+mn-lt"/>
              </a:defRPr>
            </a:lvl1pPr>
          </a:lstStyle>
          <a:p>
            <a:r>
              <a:rPr lang="en-US" dirty="0"/>
              <a:t>Title</a:t>
            </a:r>
          </a:p>
        </p:txBody>
      </p:sp>
      <p:sp>
        <p:nvSpPr>
          <p:cNvPr id="4" name="Text Placeholder 3"/>
          <p:cNvSpPr>
            <a:spLocks noGrp="1"/>
          </p:cNvSpPr>
          <p:nvPr>
            <p:ph type="body" sz="quarter" idx="12" hasCustomPrompt="1"/>
          </p:nvPr>
        </p:nvSpPr>
        <p:spPr>
          <a:xfrm>
            <a:off x="556095" y="1070528"/>
            <a:ext cx="11336414"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
        <p:nvSpPr>
          <p:cNvPr id="6" name="Picture Placeholder 5"/>
          <p:cNvSpPr>
            <a:spLocks noGrp="1"/>
          </p:cNvSpPr>
          <p:nvPr>
            <p:ph type="pic" sz="quarter" idx="13"/>
          </p:nvPr>
        </p:nvSpPr>
        <p:spPr>
          <a:xfrm>
            <a:off x="0" y="2365375"/>
            <a:ext cx="12192000" cy="4492625"/>
          </a:xfrm>
          <a:prstGeom prst="rect">
            <a:avLst/>
          </a:prstGeom>
        </p:spPr>
        <p:txBody>
          <a:bodyPr/>
          <a:lstStyle>
            <a:lvl1pPr>
              <a:defRPr>
                <a:solidFill>
                  <a:schemeClr val="tx1">
                    <a:lumMod val="50000"/>
                  </a:schemeClr>
                </a:solidFill>
              </a:defRPr>
            </a:lvl1pPr>
          </a:lstStyle>
          <a:p>
            <a:r>
              <a:rPr lang="en-US" dirty="0"/>
              <a:t>Click icon to add picture</a:t>
            </a:r>
          </a:p>
        </p:txBody>
      </p:sp>
    </p:spTree>
    <p:extLst>
      <p:ext uri="{BB962C8B-B14F-4D97-AF65-F5344CB8AC3E}">
        <p14:creationId xmlns:p14="http://schemas.microsoft.com/office/powerpoint/2010/main" val="2110956554"/>
      </p:ext>
    </p:extLst>
  </p:cSld>
  <p:clrMapOvr>
    <a:masterClrMapping/>
  </p:clrMapOvr>
  <p:transition spd="slow">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_&amp;_Subtitle_&amp;_Content">
    <p:spTree>
      <p:nvGrpSpPr>
        <p:cNvPr id="1" name=""/>
        <p:cNvGrpSpPr/>
        <p:nvPr/>
      </p:nvGrpSpPr>
      <p:grpSpPr>
        <a:xfrm>
          <a:off x="0" y="0"/>
          <a:ext cx="0" cy="0"/>
          <a:chOff x="0" y="0"/>
          <a:chExt cx="0" cy="0"/>
        </a:xfrm>
      </p:grpSpPr>
      <p:sp>
        <p:nvSpPr>
          <p:cNvPr id="5" name="Text Placeholder 2"/>
          <p:cNvSpPr>
            <a:spLocks noGrp="1"/>
          </p:cNvSpPr>
          <p:nvPr>
            <p:ph idx="11" hasCustomPrompt="1"/>
          </p:nvPr>
        </p:nvSpPr>
        <p:spPr>
          <a:xfrm>
            <a:off x="556939" y="1781056"/>
            <a:ext cx="11088962"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7891" y="6440044"/>
            <a:ext cx="900986" cy="344245"/>
          </a:xfrm>
          <a:prstGeom prst="rect">
            <a:avLst/>
          </a:prstGeom>
        </p:spPr>
      </p:pic>
    </p:spTree>
    <p:extLst>
      <p:ext uri="{BB962C8B-B14F-4D97-AF65-F5344CB8AC3E}">
        <p14:creationId xmlns:p14="http://schemas.microsoft.com/office/powerpoint/2010/main" val="3344849554"/>
      </p:ext>
    </p:extLst>
  </p:cSld>
  <p:clrMapOvr>
    <a:masterClrMapping/>
  </p:clrMapOvr>
  <p:transition spd="slow">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latin typeface="Segoe UI Light" panose="020B0502040204020203" pitchFamily="34" charset="0"/>
                <a:cs typeface="Segoe UI Light" panose="020B0502040204020203" pitchFamily="34" charset="0"/>
              </a:defRPr>
            </a:lvl1pPr>
          </a:lstStyle>
          <a:p>
            <a:r>
              <a:rPr lang="en-US" dirty="0" smtClean="0"/>
              <a:t>Click to edit Master title style</a:t>
            </a:r>
            <a:endParaRPr lang="en-AU" dirty="0"/>
          </a:p>
        </p:txBody>
      </p:sp>
      <p:sp>
        <p:nvSpPr>
          <p:cNvPr id="3" name="Content Placeholder 2"/>
          <p:cNvSpPr>
            <a:spLocks noGrp="1"/>
          </p:cNvSpPr>
          <p:nvPr>
            <p:ph idx="1"/>
          </p:nvPr>
        </p:nvSpPr>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4" name="Date Placeholder 3"/>
          <p:cNvSpPr>
            <a:spLocks noGrp="1"/>
          </p:cNvSpPr>
          <p:nvPr>
            <p:ph type="dt" sz="half" idx="10"/>
          </p:nvPr>
        </p:nvSpPr>
        <p:spPr/>
        <p:txBody>
          <a:bodyPr/>
          <a:lstStyle/>
          <a:p>
            <a:fld id="{54AE3484-B8A1-4222-B9DF-BFD33E16A4DB}" type="datetimeFigureOut">
              <a:rPr lang="en-AU" smtClean="0"/>
              <a:t>10/06/2019</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533A611A-3D9B-47B2-9421-39284F05C1C8}" type="slidenum">
              <a:rPr lang="en-AU" smtClean="0"/>
              <a:t>‹#›</a:t>
            </a:fld>
            <a:endParaRPr lang="en-AU"/>
          </a:p>
        </p:txBody>
      </p:sp>
    </p:spTree>
    <p:extLst>
      <p:ext uri="{BB962C8B-B14F-4D97-AF65-F5344CB8AC3E}">
        <p14:creationId xmlns:p14="http://schemas.microsoft.com/office/powerpoint/2010/main" val="41304345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80" name="Group 79"/>
          <p:cNvGrpSpPr/>
          <p:nvPr userDrawn="1"/>
        </p:nvGrpSpPr>
        <p:grpSpPr>
          <a:xfrm>
            <a:off x="0" y="-3175"/>
            <a:ext cx="10673334" cy="6012089"/>
            <a:chOff x="0" y="-3175"/>
            <a:chExt cx="12192000" cy="6867525"/>
          </a:xfrm>
        </p:grpSpPr>
        <p:grpSp>
          <p:nvGrpSpPr>
            <p:cNvPr id="81" name="Group 80"/>
            <p:cNvGrpSpPr/>
            <p:nvPr userDrawn="1"/>
          </p:nvGrpSpPr>
          <p:grpSpPr>
            <a:xfrm>
              <a:off x="0" y="-3175"/>
              <a:ext cx="12192000" cy="6867525"/>
              <a:chOff x="0" y="-3175"/>
              <a:chExt cx="12192000" cy="6867525"/>
            </a:xfrm>
          </p:grpSpPr>
          <p:sp>
            <p:nvSpPr>
              <p:cNvPr id="83" name="AutoShape 58"/>
              <p:cNvSpPr>
                <a:spLocks noChangeAspect="1" noChangeArrowheads="1" noTextEdit="1"/>
              </p:cNvSpPr>
              <p:nvPr userDrawn="1"/>
            </p:nvSpPr>
            <p:spPr bwMode="auto">
              <a:xfrm>
                <a:off x="0" y="-3175"/>
                <a:ext cx="12192000" cy="68643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4" name="Freeform 60"/>
              <p:cNvSpPr>
                <a:spLocks/>
              </p:cNvSpPr>
              <p:nvPr userDrawn="1"/>
            </p:nvSpPr>
            <p:spPr bwMode="auto">
              <a:xfrm>
                <a:off x="3176" y="1"/>
                <a:ext cx="12185650" cy="6864349"/>
              </a:xfrm>
              <a:custGeom>
                <a:avLst/>
                <a:gdLst>
                  <a:gd name="T0" fmla="*/ 2620 w 7676"/>
                  <a:gd name="T1" fmla="*/ 0 h 4324"/>
                  <a:gd name="T2" fmla="*/ 3866 w 7676"/>
                  <a:gd name="T3" fmla="*/ 2987 h 4324"/>
                  <a:gd name="T4" fmla="*/ 0 w 7676"/>
                  <a:gd name="T5" fmla="*/ 2068 h 4324"/>
                  <a:gd name="T6" fmla="*/ 0 w 7676"/>
                  <a:gd name="T7" fmla="*/ 4324 h 4324"/>
                  <a:gd name="T8" fmla="*/ 7676 w 7676"/>
                  <a:gd name="T9" fmla="*/ 4324 h 4324"/>
                  <a:gd name="T10" fmla="*/ 7676 w 7676"/>
                  <a:gd name="T11" fmla="*/ 0 h 4324"/>
                  <a:gd name="T12" fmla="*/ 2620 w 7676"/>
                  <a:gd name="T13" fmla="*/ 0 h 4324"/>
                </a:gdLst>
                <a:ahLst/>
                <a:cxnLst>
                  <a:cxn ang="0">
                    <a:pos x="T0" y="T1"/>
                  </a:cxn>
                  <a:cxn ang="0">
                    <a:pos x="T2" y="T3"/>
                  </a:cxn>
                  <a:cxn ang="0">
                    <a:pos x="T4" y="T5"/>
                  </a:cxn>
                  <a:cxn ang="0">
                    <a:pos x="T6" y="T7"/>
                  </a:cxn>
                  <a:cxn ang="0">
                    <a:pos x="T8" y="T9"/>
                  </a:cxn>
                  <a:cxn ang="0">
                    <a:pos x="T10" y="T11"/>
                  </a:cxn>
                  <a:cxn ang="0">
                    <a:pos x="T12" y="T13"/>
                  </a:cxn>
                </a:cxnLst>
                <a:rect l="0" t="0" r="r" b="b"/>
                <a:pathLst>
                  <a:path w="7676" h="4324">
                    <a:moveTo>
                      <a:pt x="2620" y="0"/>
                    </a:moveTo>
                    <a:lnTo>
                      <a:pt x="3866" y="2987"/>
                    </a:lnTo>
                    <a:lnTo>
                      <a:pt x="0" y="2068"/>
                    </a:lnTo>
                    <a:lnTo>
                      <a:pt x="0" y="4324"/>
                    </a:lnTo>
                    <a:lnTo>
                      <a:pt x="7676" y="4324"/>
                    </a:lnTo>
                    <a:lnTo>
                      <a:pt x="7676" y="0"/>
                    </a:lnTo>
                    <a:lnTo>
                      <a:pt x="262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5" name="Freeform 61"/>
              <p:cNvSpPr>
                <a:spLocks/>
              </p:cNvSpPr>
              <p:nvPr userDrawn="1"/>
            </p:nvSpPr>
            <p:spPr bwMode="auto">
              <a:xfrm>
                <a:off x="3144845" y="4029075"/>
                <a:ext cx="2989255" cy="1700213"/>
              </a:xfrm>
              <a:custGeom>
                <a:avLst/>
                <a:gdLst>
                  <a:gd name="T0" fmla="*/ 44 w 1874"/>
                  <a:gd name="T1" fmla="*/ 0 h 1071"/>
                  <a:gd name="T2" fmla="*/ 1874 w 1874"/>
                  <a:gd name="T3" fmla="*/ 447 h 1071"/>
                  <a:gd name="T4" fmla="*/ 276 w 1874"/>
                  <a:gd name="T5" fmla="*/ 1071 h 1071"/>
                  <a:gd name="T6" fmla="*/ 0 w 1874"/>
                  <a:gd name="T7" fmla="*/ 102 h 1071"/>
                  <a:gd name="T8" fmla="*/ 44 w 1874"/>
                  <a:gd name="T9" fmla="*/ 0 h 1071"/>
                  <a:gd name="connsiteX0" fmla="*/ 283 w 10048"/>
                  <a:gd name="connsiteY0" fmla="*/ 0 h 10000"/>
                  <a:gd name="connsiteX1" fmla="*/ 10048 w 10048"/>
                  <a:gd name="connsiteY1" fmla="*/ 4174 h 10000"/>
                  <a:gd name="connsiteX2" fmla="*/ 1521 w 10048"/>
                  <a:gd name="connsiteY2" fmla="*/ 10000 h 10000"/>
                  <a:gd name="connsiteX3" fmla="*/ 0 w 10048"/>
                  <a:gd name="connsiteY3" fmla="*/ 1134 h 10000"/>
                  <a:gd name="connsiteX4" fmla="*/ 283 w 1004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8" h="10000">
                    <a:moveTo>
                      <a:pt x="283" y="0"/>
                    </a:moveTo>
                    <a:lnTo>
                      <a:pt x="10048" y="4174"/>
                    </a:lnTo>
                    <a:lnTo>
                      <a:pt x="1521" y="10000"/>
                    </a:lnTo>
                    <a:lnTo>
                      <a:pt x="0" y="1134"/>
                    </a:lnTo>
                    <a:cubicBezTo>
                      <a:pt x="94" y="756"/>
                      <a:pt x="189" y="378"/>
                      <a:pt x="283" y="0"/>
                    </a:cubicBezTo>
                    <a:close/>
                  </a:path>
                </a:pathLst>
              </a:custGeom>
              <a:solidFill>
                <a:srgbClr val="C08FC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62"/>
              <p:cNvSpPr>
                <a:spLocks/>
              </p:cNvSpPr>
              <p:nvPr userDrawn="1"/>
            </p:nvSpPr>
            <p:spPr bwMode="auto">
              <a:xfrm>
                <a:off x="2286000" y="5716588"/>
                <a:ext cx="1612900" cy="928688"/>
              </a:xfrm>
              <a:custGeom>
                <a:avLst/>
                <a:gdLst>
                  <a:gd name="T0" fmla="*/ 0 w 1016"/>
                  <a:gd name="T1" fmla="*/ 333 h 585"/>
                  <a:gd name="T2" fmla="*/ 1016 w 1016"/>
                  <a:gd name="T3" fmla="*/ 585 h 585"/>
                  <a:gd name="T4" fmla="*/ 840 w 1016"/>
                  <a:gd name="T5" fmla="*/ 0 h 585"/>
                  <a:gd name="T6" fmla="*/ 0 w 1016"/>
                  <a:gd name="T7" fmla="*/ 333 h 585"/>
                </a:gdLst>
                <a:ahLst/>
                <a:cxnLst>
                  <a:cxn ang="0">
                    <a:pos x="T0" y="T1"/>
                  </a:cxn>
                  <a:cxn ang="0">
                    <a:pos x="T2" y="T3"/>
                  </a:cxn>
                  <a:cxn ang="0">
                    <a:pos x="T4" y="T5"/>
                  </a:cxn>
                  <a:cxn ang="0">
                    <a:pos x="T6" y="T7"/>
                  </a:cxn>
                </a:cxnLst>
                <a:rect l="0" t="0" r="r" b="b"/>
                <a:pathLst>
                  <a:path w="1016" h="585">
                    <a:moveTo>
                      <a:pt x="0" y="333"/>
                    </a:moveTo>
                    <a:lnTo>
                      <a:pt x="1016" y="585"/>
                    </a:lnTo>
                    <a:lnTo>
                      <a:pt x="840" y="0"/>
                    </a:lnTo>
                    <a:lnTo>
                      <a:pt x="0" y="333"/>
                    </a:lnTo>
                    <a:close/>
                  </a:path>
                </a:pathLst>
              </a:custGeom>
              <a:solidFill>
                <a:srgbClr val="CFA9C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63"/>
              <p:cNvSpPr>
                <a:spLocks/>
              </p:cNvSpPr>
              <p:nvPr userDrawn="1"/>
            </p:nvSpPr>
            <p:spPr bwMode="auto">
              <a:xfrm>
                <a:off x="2286000" y="4191000"/>
                <a:ext cx="1333500" cy="2054225"/>
              </a:xfrm>
              <a:custGeom>
                <a:avLst/>
                <a:gdLst>
                  <a:gd name="T0" fmla="*/ 550 w 840"/>
                  <a:gd name="T1" fmla="*/ 0 h 1294"/>
                  <a:gd name="T2" fmla="*/ 0 w 840"/>
                  <a:gd name="T3" fmla="*/ 1294 h 1294"/>
                  <a:gd name="T4" fmla="*/ 840 w 840"/>
                  <a:gd name="T5" fmla="*/ 965 h 1294"/>
                  <a:gd name="T6" fmla="*/ 550 w 840"/>
                  <a:gd name="T7" fmla="*/ 0 h 1294"/>
                </a:gdLst>
                <a:ahLst/>
                <a:cxnLst>
                  <a:cxn ang="0">
                    <a:pos x="T0" y="T1"/>
                  </a:cxn>
                  <a:cxn ang="0">
                    <a:pos x="T2" y="T3"/>
                  </a:cxn>
                  <a:cxn ang="0">
                    <a:pos x="T4" y="T5"/>
                  </a:cxn>
                  <a:cxn ang="0">
                    <a:pos x="T6" y="T7"/>
                  </a:cxn>
                </a:cxnLst>
                <a:rect l="0" t="0" r="r" b="b"/>
                <a:pathLst>
                  <a:path w="840" h="1294">
                    <a:moveTo>
                      <a:pt x="550" y="0"/>
                    </a:moveTo>
                    <a:lnTo>
                      <a:pt x="0" y="1294"/>
                    </a:lnTo>
                    <a:lnTo>
                      <a:pt x="840" y="965"/>
                    </a:lnTo>
                    <a:lnTo>
                      <a:pt x="550" y="0"/>
                    </a:lnTo>
                    <a:close/>
                  </a:path>
                </a:pathLst>
              </a:custGeom>
              <a:solidFill>
                <a:srgbClr val="B881B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2" name="Freeform 64"/>
            <p:cNvSpPr>
              <a:spLocks/>
            </p:cNvSpPr>
            <p:nvPr userDrawn="1"/>
          </p:nvSpPr>
          <p:spPr bwMode="auto">
            <a:xfrm>
              <a:off x="0" y="-3175"/>
              <a:ext cx="6134100" cy="4741863"/>
            </a:xfrm>
            <a:custGeom>
              <a:avLst/>
              <a:gdLst>
                <a:gd name="T0" fmla="*/ 3864 w 3864"/>
                <a:gd name="T1" fmla="*/ 2987 h 2987"/>
                <a:gd name="T2" fmla="*/ 0 w 3864"/>
                <a:gd name="T3" fmla="*/ 2068 h 2987"/>
                <a:gd name="T4" fmla="*/ 0 w 3864"/>
                <a:gd name="T5" fmla="*/ 0 h 2987"/>
                <a:gd name="T6" fmla="*/ 2618 w 3864"/>
                <a:gd name="T7" fmla="*/ 0 h 2987"/>
                <a:gd name="T8" fmla="*/ 3864 w 3864"/>
                <a:gd name="T9" fmla="*/ 2987 h 2987"/>
              </a:gdLst>
              <a:ahLst/>
              <a:cxnLst>
                <a:cxn ang="0">
                  <a:pos x="T0" y="T1"/>
                </a:cxn>
                <a:cxn ang="0">
                  <a:pos x="T2" y="T3"/>
                </a:cxn>
                <a:cxn ang="0">
                  <a:pos x="T4" y="T5"/>
                </a:cxn>
                <a:cxn ang="0">
                  <a:pos x="T6" y="T7"/>
                </a:cxn>
                <a:cxn ang="0">
                  <a:pos x="T8" y="T9"/>
                </a:cxn>
              </a:cxnLst>
              <a:rect l="0" t="0" r="r" b="b"/>
              <a:pathLst>
                <a:path w="3864" h="2987">
                  <a:moveTo>
                    <a:pt x="3864" y="2987"/>
                  </a:moveTo>
                  <a:lnTo>
                    <a:pt x="0" y="2068"/>
                  </a:lnTo>
                  <a:lnTo>
                    <a:pt x="0" y="0"/>
                  </a:lnTo>
                  <a:lnTo>
                    <a:pt x="2618" y="0"/>
                  </a:lnTo>
                  <a:lnTo>
                    <a:pt x="3864" y="298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3" name="Text Box 3"/>
          <p:cNvSpPr txBox="1">
            <a:spLocks noChangeArrowheads="1"/>
          </p:cNvSpPr>
          <p:nvPr userDrawn="1"/>
        </p:nvSpPr>
        <p:spPr bwMode="blackWhite">
          <a:xfrm>
            <a:off x="319661" y="5800823"/>
            <a:ext cx="5066594" cy="1401519"/>
          </a:xfrm>
          <a:prstGeom prst="rect">
            <a:avLst/>
          </a:prstGeom>
          <a:noFill/>
          <a:ln w="12700">
            <a:noFill/>
            <a:miter lim="800000"/>
            <a:headEnd type="none" w="sm" len="sm"/>
            <a:tailEnd type="none" w="sm" len="sm"/>
          </a:ln>
          <a:effectLst/>
        </p:spPr>
        <p:txBody>
          <a:bodyPr vert="horz" wrap="square" lIns="0" tIns="0" rIns="0" bIns="0" numCol="1" anchor="ctr" anchorCtr="0" compatLnSpc="1">
            <a:prstTxWarp prst="textNoShape">
              <a:avLst/>
            </a:prstTxWarp>
            <a:noAutofit/>
          </a:bodyPr>
          <a:lstStyle/>
          <a:p>
            <a:pPr algn="l" defTabSz="913924" eaLnBrk="0" hangingPunct="0"/>
            <a:r>
              <a:rPr lang="en-AU" sz="600" dirty="0">
                <a:solidFill>
                  <a:schemeClr val="bg1"/>
                </a:solidFill>
                <a:cs typeface="Segoe UI" pitchFamily="34" charset="0"/>
              </a:rPr>
              <a:t>© 2017</a:t>
            </a:r>
            <a:r>
              <a:rPr lang="en-AU" sz="600" baseline="0" dirty="0">
                <a:solidFill>
                  <a:schemeClr val="bg1"/>
                </a:solidFill>
                <a:cs typeface="Segoe UI" pitchFamily="34" charset="0"/>
              </a:rPr>
              <a:t> </a:t>
            </a:r>
            <a:r>
              <a:rPr lang="en-AU" sz="600" dirty="0">
                <a:solidFill>
                  <a:schemeClr val="bg1"/>
                </a:solidFill>
                <a:cs typeface="Segoe UI" pitchFamily="34" charset="0"/>
              </a:rPr>
              <a:t> Velrada Capital Pty Ltd. All rights reserved.</a:t>
            </a:r>
            <a:r>
              <a:rPr lang="en-AU" sz="600" baseline="0" dirty="0">
                <a:solidFill>
                  <a:schemeClr val="bg1"/>
                </a:solidFill>
                <a:cs typeface="Segoe UI" pitchFamily="34" charset="0"/>
              </a:rPr>
              <a:t> </a:t>
            </a:r>
            <a:r>
              <a:rPr lang="en-AU" sz="600" dirty="0">
                <a:solidFill>
                  <a:schemeClr val="bg1"/>
                </a:solidFill>
                <a:cs typeface="Segoe UI" pitchFamily="34" charset="0"/>
              </a:rPr>
              <a:t>The information contained herein is for informational purposes only and represents the current view of Velrada Capital as at the date of the presentation.  Velrada Capital cannot guarantee the accuracy of any information provided after the date of this presentation. Velrada Capital makes no warranties, express, implied or statutory as to the information in this presentation.</a:t>
            </a:r>
          </a:p>
        </p:txBody>
      </p:sp>
      <p:sp>
        <p:nvSpPr>
          <p:cNvPr id="15" name="Subtitle 2"/>
          <p:cNvSpPr txBox="1">
            <a:spLocks/>
          </p:cNvSpPr>
          <p:nvPr userDrawn="1"/>
        </p:nvSpPr>
        <p:spPr>
          <a:xfrm>
            <a:off x="319661" y="3064237"/>
            <a:ext cx="5768707" cy="1034782"/>
          </a:xfrm>
          <a:prstGeom prst="rect">
            <a:avLst/>
          </a:prstGeom>
        </p:spPr>
        <p:txBody>
          <a:bodyPr>
            <a:norm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endParaRPr lang="en-US" sz="2800" dirty="0">
              <a:solidFill>
                <a:schemeClr val="bg1"/>
              </a:solidFill>
            </a:endParaRPr>
          </a:p>
        </p:txBody>
      </p:sp>
      <p:grpSp>
        <p:nvGrpSpPr>
          <p:cNvPr id="10" name="Group 9"/>
          <p:cNvGrpSpPr/>
          <p:nvPr userDrawn="1"/>
        </p:nvGrpSpPr>
        <p:grpSpPr>
          <a:xfrm>
            <a:off x="5703136" y="4271023"/>
            <a:ext cx="9526624" cy="2049217"/>
            <a:chOff x="5602100" y="3900114"/>
            <a:chExt cx="9526624" cy="2049217"/>
          </a:xfrm>
        </p:grpSpPr>
        <p:grpSp>
          <p:nvGrpSpPr>
            <p:cNvPr id="9" name="Group 8"/>
            <p:cNvGrpSpPr/>
            <p:nvPr userDrawn="1"/>
          </p:nvGrpSpPr>
          <p:grpSpPr>
            <a:xfrm>
              <a:off x="5995236" y="4791180"/>
              <a:ext cx="7719554" cy="1158151"/>
              <a:chOff x="6033336" y="4791180"/>
              <a:chExt cx="7719554" cy="1158151"/>
            </a:xfrm>
          </p:grpSpPr>
          <p:grpSp>
            <p:nvGrpSpPr>
              <p:cNvPr id="17" name="Group 16"/>
              <p:cNvGrpSpPr/>
              <p:nvPr userDrawn="1"/>
            </p:nvGrpSpPr>
            <p:grpSpPr>
              <a:xfrm>
                <a:off x="6033336" y="4791180"/>
                <a:ext cx="2971796" cy="519233"/>
                <a:chOff x="391261" y="3631314"/>
                <a:chExt cx="4322465" cy="755222"/>
              </a:xfrm>
            </p:grpSpPr>
            <p:grpSp>
              <p:nvGrpSpPr>
                <p:cNvPr id="18" name="Group 17"/>
                <p:cNvGrpSpPr/>
                <p:nvPr userDrawn="1"/>
              </p:nvGrpSpPr>
              <p:grpSpPr>
                <a:xfrm>
                  <a:off x="391261" y="3631314"/>
                  <a:ext cx="755222" cy="755222"/>
                  <a:chOff x="-2529227" y="0"/>
                  <a:chExt cx="980334" cy="980334"/>
                </a:xfrm>
              </p:grpSpPr>
              <p:sp>
                <p:nvSpPr>
                  <p:cNvPr id="20" name="Oval 102"/>
                  <p:cNvSpPr>
                    <a:spLocks noChangeArrowheads="1"/>
                  </p:cNvSpPr>
                  <p:nvPr userDrawn="1"/>
                </p:nvSpPr>
                <p:spPr bwMode="auto">
                  <a:xfrm>
                    <a:off x="-2529227" y="0"/>
                    <a:ext cx="980334" cy="98033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21" name="Oval 113"/>
                  <p:cNvSpPr>
                    <a:spLocks noChangeArrowheads="1"/>
                  </p:cNvSpPr>
                  <p:nvPr userDrawn="1"/>
                </p:nvSpPr>
                <p:spPr bwMode="auto">
                  <a:xfrm>
                    <a:off x="-2149254" y="334377"/>
                    <a:ext cx="60796" cy="5319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22" name="Oval 114"/>
                  <p:cNvSpPr>
                    <a:spLocks noChangeArrowheads="1"/>
                  </p:cNvSpPr>
                  <p:nvPr userDrawn="1"/>
                </p:nvSpPr>
                <p:spPr bwMode="auto">
                  <a:xfrm>
                    <a:off x="-2111259" y="402770"/>
                    <a:ext cx="38000" cy="380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23" name="Oval 115"/>
                  <p:cNvSpPr>
                    <a:spLocks noChangeArrowheads="1"/>
                  </p:cNvSpPr>
                  <p:nvPr userDrawn="1"/>
                </p:nvSpPr>
                <p:spPr bwMode="auto">
                  <a:xfrm>
                    <a:off x="-2050463" y="357173"/>
                    <a:ext cx="60796" cy="607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24" name="Oval 116"/>
                  <p:cNvSpPr>
                    <a:spLocks noChangeArrowheads="1"/>
                  </p:cNvSpPr>
                  <p:nvPr userDrawn="1"/>
                </p:nvSpPr>
                <p:spPr bwMode="auto">
                  <a:xfrm>
                    <a:off x="-1951667" y="243183"/>
                    <a:ext cx="45597" cy="4559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25" name="Oval 117"/>
                  <p:cNvSpPr>
                    <a:spLocks noChangeArrowheads="1"/>
                  </p:cNvSpPr>
                  <p:nvPr userDrawn="1"/>
                </p:nvSpPr>
                <p:spPr bwMode="auto">
                  <a:xfrm>
                    <a:off x="-1921269" y="288780"/>
                    <a:ext cx="45597" cy="4559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26" name="Oval 118"/>
                  <p:cNvSpPr>
                    <a:spLocks noChangeArrowheads="1"/>
                  </p:cNvSpPr>
                  <p:nvPr userDrawn="1"/>
                </p:nvSpPr>
                <p:spPr bwMode="auto">
                  <a:xfrm>
                    <a:off x="-1875673" y="364775"/>
                    <a:ext cx="53199" cy="4559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27" name="Oval 119"/>
                  <p:cNvSpPr>
                    <a:spLocks noChangeArrowheads="1"/>
                  </p:cNvSpPr>
                  <p:nvPr userDrawn="1"/>
                </p:nvSpPr>
                <p:spPr bwMode="auto">
                  <a:xfrm>
                    <a:off x="-1852877" y="676350"/>
                    <a:ext cx="45597" cy="380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28" name="Oval 120"/>
                  <p:cNvSpPr>
                    <a:spLocks noChangeArrowheads="1"/>
                  </p:cNvSpPr>
                  <p:nvPr userDrawn="1"/>
                </p:nvSpPr>
                <p:spPr bwMode="auto">
                  <a:xfrm>
                    <a:off x="-2164452" y="638355"/>
                    <a:ext cx="53199" cy="607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29" name="Oval 121"/>
                  <p:cNvSpPr>
                    <a:spLocks noChangeArrowheads="1"/>
                  </p:cNvSpPr>
                  <p:nvPr userDrawn="1"/>
                </p:nvSpPr>
                <p:spPr bwMode="auto">
                  <a:xfrm>
                    <a:off x="-2293646" y="562361"/>
                    <a:ext cx="75995" cy="759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30" name="Oval 122"/>
                  <p:cNvSpPr>
                    <a:spLocks noChangeArrowheads="1"/>
                  </p:cNvSpPr>
                  <p:nvPr userDrawn="1"/>
                </p:nvSpPr>
                <p:spPr bwMode="auto">
                  <a:xfrm>
                    <a:off x="-1837678" y="547162"/>
                    <a:ext cx="68398" cy="759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31" name="Freeform 123"/>
                  <p:cNvSpPr>
                    <a:spLocks/>
                  </p:cNvSpPr>
                  <p:nvPr userDrawn="1"/>
                </p:nvSpPr>
                <p:spPr bwMode="auto">
                  <a:xfrm>
                    <a:off x="-2065662" y="448366"/>
                    <a:ext cx="106393" cy="91194"/>
                  </a:xfrm>
                  <a:custGeom>
                    <a:avLst/>
                    <a:gdLst>
                      <a:gd name="T0" fmla="*/ 1 w 19"/>
                      <a:gd name="T1" fmla="*/ 0 h 16"/>
                      <a:gd name="T2" fmla="*/ 0 w 19"/>
                      <a:gd name="T3" fmla="*/ 2 h 16"/>
                      <a:gd name="T4" fmla="*/ 18 w 19"/>
                      <a:gd name="T5" fmla="*/ 16 h 16"/>
                      <a:gd name="T6" fmla="*/ 19 w 19"/>
                      <a:gd name="T7" fmla="*/ 14 h 16"/>
                      <a:gd name="T8" fmla="*/ 1 w 19"/>
                      <a:gd name="T9" fmla="*/ 0 h 16"/>
                    </a:gdLst>
                    <a:ahLst/>
                    <a:cxnLst>
                      <a:cxn ang="0">
                        <a:pos x="T0" y="T1"/>
                      </a:cxn>
                      <a:cxn ang="0">
                        <a:pos x="T2" y="T3"/>
                      </a:cxn>
                      <a:cxn ang="0">
                        <a:pos x="T4" y="T5"/>
                      </a:cxn>
                      <a:cxn ang="0">
                        <a:pos x="T6" y="T7"/>
                      </a:cxn>
                      <a:cxn ang="0">
                        <a:pos x="T8" y="T9"/>
                      </a:cxn>
                    </a:cxnLst>
                    <a:rect l="0" t="0" r="r" b="b"/>
                    <a:pathLst>
                      <a:path w="19" h="16">
                        <a:moveTo>
                          <a:pt x="1" y="0"/>
                        </a:moveTo>
                        <a:cubicBezTo>
                          <a:pt x="1" y="1"/>
                          <a:pt x="0" y="1"/>
                          <a:pt x="0" y="2"/>
                        </a:cubicBezTo>
                        <a:cubicBezTo>
                          <a:pt x="5" y="8"/>
                          <a:pt x="11" y="13"/>
                          <a:pt x="18" y="16"/>
                        </a:cubicBezTo>
                        <a:cubicBezTo>
                          <a:pt x="19" y="16"/>
                          <a:pt x="19" y="15"/>
                          <a:pt x="19" y="14"/>
                        </a:cubicBezTo>
                        <a:cubicBezTo>
                          <a:pt x="12" y="11"/>
                          <a:pt x="6" y="6"/>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32" name="Freeform 124"/>
                  <p:cNvSpPr>
                    <a:spLocks/>
                  </p:cNvSpPr>
                  <p:nvPr userDrawn="1"/>
                </p:nvSpPr>
                <p:spPr bwMode="auto">
                  <a:xfrm>
                    <a:off x="-1959269" y="539560"/>
                    <a:ext cx="151989" cy="45597"/>
                  </a:xfrm>
                  <a:custGeom>
                    <a:avLst/>
                    <a:gdLst>
                      <a:gd name="T0" fmla="*/ 0 w 26"/>
                      <a:gd name="T1" fmla="*/ 2 h 9"/>
                      <a:gd name="T2" fmla="*/ 26 w 26"/>
                      <a:gd name="T3" fmla="*/ 9 h 9"/>
                      <a:gd name="T4" fmla="*/ 26 w 26"/>
                      <a:gd name="T5" fmla="*/ 7 h 9"/>
                      <a:gd name="T6" fmla="*/ 1 w 26"/>
                      <a:gd name="T7" fmla="*/ 0 h 9"/>
                      <a:gd name="T8" fmla="*/ 0 w 26"/>
                      <a:gd name="T9" fmla="*/ 2 h 9"/>
                    </a:gdLst>
                    <a:ahLst/>
                    <a:cxnLst>
                      <a:cxn ang="0">
                        <a:pos x="T0" y="T1"/>
                      </a:cxn>
                      <a:cxn ang="0">
                        <a:pos x="T2" y="T3"/>
                      </a:cxn>
                      <a:cxn ang="0">
                        <a:pos x="T4" y="T5"/>
                      </a:cxn>
                      <a:cxn ang="0">
                        <a:pos x="T6" y="T7"/>
                      </a:cxn>
                      <a:cxn ang="0">
                        <a:pos x="T8" y="T9"/>
                      </a:cxn>
                    </a:cxnLst>
                    <a:rect l="0" t="0" r="r" b="b"/>
                    <a:pathLst>
                      <a:path w="26" h="9">
                        <a:moveTo>
                          <a:pt x="0" y="2"/>
                        </a:moveTo>
                        <a:cubicBezTo>
                          <a:pt x="8" y="6"/>
                          <a:pt x="17" y="8"/>
                          <a:pt x="26" y="9"/>
                        </a:cubicBezTo>
                        <a:cubicBezTo>
                          <a:pt x="26" y="9"/>
                          <a:pt x="26" y="8"/>
                          <a:pt x="26" y="7"/>
                        </a:cubicBezTo>
                        <a:cubicBezTo>
                          <a:pt x="17" y="6"/>
                          <a:pt x="8" y="4"/>
                          <a:pt x="1" y="0"/>
                        </a:cubicBezTo>
                        <a:cubicBezTo>
                          <a:pt x="1" y="0"/>
                          <a:pt x="1"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33" name="Freeform 125"/>
                  <p:cNvSpPr>
                    <a:spLocks/>
                  </p:cNvSpPr>
                  <p:nvPr userDrawn="1"/>
                </p:nvSpPr>
                <p:spPr bwMode="auto">
                  <a:xfrm>
                    <a:off x="-2096060" y="417968"/>
                    <a:ext cx="22801" cy="30398"/>
                  </a:xfrm>
                  <a:custGeom>
                    <a:avLst/>
                    <a:gdLst>
                      <a:gd name="T0" fmla="*/ 4 w 4"/>
                      <a:gd name="T1" fmla="*/ 3 h 5"/>
                      <a:gd name="T2" fmla="*/ 2 w 4"/>
                      <a:gd name="T3" fmla="*/ 0 h 5"/>
                      <a:gd name="T4" fmla="*/ 0 w 4"/>
                      <a:gd name="T5" fmla="*/ 1 h 5"/>
                      <a:gd name="T6" fmla="*/ 3 w 4"/>
                      <a:gd name="T7" fmla="*/ 5 h 5"/>
                      <a:gd name="T8" fmla="*/ 4 w 4"/>
                      <a:gd name="T9" fmla="*/ 3 h 5"/>
                    </a:gdLst>
                    <a:ahLst/>
                    <a:cxnLst>
                      <a:cxn ang="0">
                        <a:pos x="T0" y="T1"/>
                      </a:cxn>
                      <a:cxn ang="0">
                        <a:pos x="T2" y="T3"/>
                      </a:cxn>
                      <a:cxn ang="0">
                        <a:pos x="T4" y="T5"/>
                      </a:cxn>
                      <a:cxn ang="0">
                        <a:pos x="T6" y="T7"/>
                      </a:cxn>
                      <a:cxn ang="0">
                        <a:pos x="T8" y="T9"/>
                      </a:cxn>
                    </a:cxnLst>
                    <a:rect l="0" t="0" r="r" b="b"/>
                    <a:pathLst>
                      <a:path w="4" h="5">
                        <a:moveTo>
                          <a:pt x="4" y="3"/>
                        </a:moveTo>
                        <a:cubicBezTo>
                          <a:pt x="3" y="2"/>
                          <a:pt x="2" y="1"/>
                          <a:pt x="2" y="0"/>
                        </a:cubicBezTo>
                        <a:cubicBezTo>
                          <a:pt x="1" y="0"/>
                          <a:pt x="0" y="1"/>
                          <a:pt x="0" y="1"/>
                        </a:cubicBezTo>
                        <a:cubicBezTo>
                          <a:pt x="1" y="2"/>
                          <a:pt x="2" y="3"/>
                          <a:pt x="3" y="5"/>
                        </a:cubicBezTo>
                        <a:cubicBezTo>
                          <a:pt x="3" y="4"/>
                          <a:pt x="3" y="3"/>
                          <a:pt x="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34" name="Freeform 126"/>
                  <p:cNvSpPr>
                    <a:spLocks/>
                  </p:cNvSpPr>
                  <p:nvPr userDrawn="1"/>
                </p:nvSpPr>
                <p:spPr bwMode="auto">
                  <a:xfrm>
                    <a:off x="-1799678" y="585157"/>
                    <a:ext cx="45597" cy="7602"/>
                  </a:xfrm>
                  <a:custGeom>
                    <a:avLst/>
                    <a:gdLst>
                      <a:gd name="T0" fmla="*/ 0 w 7"/>
                      <a:gd name="T1" fmla="*/ 0 h 2"/>
                      <a:gd name="T2" fmla="*/ 0 w 7"/>
                      <a:gd name="T3" fmla="*/ 2 h 2"/>
                      <a:gd name="T4" fmla="*/ 5 w 7"/>
                      <a:gd name="T5" fmla="*/ 2 h 2"/>
                      <a:gd name="T6" fmla="*/ 6 w 7"/>
                      <a:gd name="T7" fmla="*/ 2 h 2"/>
                      <a:gd name="T8" fmla="*/ 7 w 7"/>
                      <a:gd name="T9" fmla="*/ 0 h 2"/>
                      <a:gd name="T10" fmla="*/ 5 w 7"/>
                      <a:gd name="T11" fmla="*/ 0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cubicBezTo>
                          <a:pt x="0" y="0"/>
                          <a:pt x="0" y="1"/>
                          <a:pt x="0" y="2"/>
                        </a:cubicBezTo>
                        <a:cubicBezTo>
                          <a:pt x="2" y="2"/>
                          <a:pt x="3" y="2"/>
                          <a:pt x="5" y="2"/>
                        </a:cubicBezTo>
                        <a:cubicBezTo>
                          <a:pt x="5" y="2"/>
                          <a:pt x="6" y="2"/>
                          <a:pt x="6" y="2"/>
                        </a:cubicBezTo>
                        <a:cubicBezTo>
                          <a:pt x="6" y="1"/>
                          <a:pt x="7" y="0"/>
                          <a:pt x="7" y="0"/>
                        </a:cubicBezTo>
                        <a:cubicBezTo>
                          <a:pt x="6" y="0"/>
                          <a:pt x="6" y="0"/>
                          <a:pt x="5" y="0"/>
                        </a:cubicBezTo>
                        <a:cubicBezTo>
                          <a:pt x="3" y="0"/>
                          <a:pt x="2"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35" name="Freeform 127"/>
                  <p:cNvSpPr>
                    <a:spLocks/>
                  </p:cNvSpPr>
                  <p:nvPr userDrawn="1"/>
                </p:nvSpPr>
                <p:spPr bwMode="auto">
                  <a:xfrm>
                    <a:off x="-2308845" y="220382"/>
                    <a:ext cx="334377" cy="197586"/>
                  </a:xfrm>
                  <a:custGeom>
                    <a:avLst/>
                    <a:gdLst>
                      <a:gd name="T0" fmla="*/ 30 w 57"/>
                      <a:gd name="T1" fmla="*/ 26 h 34"/>
                      <a:gd name="T2" fmla="*/ 35 w 57"/>
                      <a:gd name="T3" fmla="*/ 34 h 34"/>
                      <a:gd name="T4" fmla="*/ 37 w 57"/>
                      <a:gd name="T5" fmla="*/ 33 h 34"/>
                      <a:gd name="T6" fmla="*/ 32 w 57"/>
                      <a:gd name="T7" fmla="*/ 26 h 34"/>
                      <a:gd name="T8" fmla="*/ 57 w 57"/>
                      <a:gd name="T9" fmla="*/ 16 h 34"/>
                      <a:gd name="T10" fmla="*/ 56 w 57"/>
                      <a:gd name="T11" fmla="*/ 14 h 34"/>
                      <a:gd name="T12" fmla="*/ 31 w 57"/>
                      <a:gd name="T13" fmla="*/ 24 h 34"/>
                      <a:gd name="T14" fmla="*/ 26 w 57"/>
                      <a:gd name="T15" fmla="*/ 0 h 34"/>
                      <a:gd name="T16" fmla="*/ 24 w 57"/>
                      <a:gd name="T17" fmla="*/ 1 h 34"/>
                      <a:gd name="T18" fmla="*/ 29 w 57"/>
                      <a:gd name="T19" fmla="*/ 24 h 34"/>
                      <a:gd name="T20" fmla="*/ 15 w 57"/>
                      <a:gd name="T21" fmla="*/ 26 h 34"/>
                      <a:gd name="T22" fmla="*/ 1 w 57"/>
                      <a:gd name="T23" fmla="*/ 25 h 34"/>
                      <a:gd name="T24" fmla="*/ 0 w 57"/>
                      <a:gd name="T25" fmla="*/ 27 h 34"/>
                      <a:gd name="T26" fmla="*/ 15 w 57"/>
                      <a:gd name="T27" fmla="*/ 28 h 34"/>
                      <a:gd name="T28" fmla="*/ 30 w 57"/>
                      <a:gd name="T29"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34">
                        <a:moveTo>
                          <a:pt x="30" y="26"/>
                        </a:moveTo>
                        <a:cubicBezTo>
                          <a:pt x="31" y="29"/>
                          <a:pt x="33" y="32"/>
                          <a:pt x="35" y="34"/>
                        </a:cubicBezTo>
                        <a:cubicBezTo>
                          <a:pt x="35" y="34"/>
                          <a:pt x="36" y="34"/>
                          <a:pt x="37" y="33"/>
                        </a:cubicBezTo>
                        <a:cubicBezTo>
                          <a:pt x="35" y="31"/>
                          <a:pt x="34" y="28"/>
                          <a:pt x="32" y="26"/>
                        </a:cubicBezTo>
                        <a:cubicBezTo>
                          <a:pt x="41" y="24"/>
                          <a:pt x="50" y="20"/>
                          <a:pt x="57" y="16"/>
                        </a:cubicBezTo>
                        <a:cubicBezTo>
                          <a:pt x="57" y="15"/>
                          <a:pt x="57" y="14"/>
                          <a:pt x="56" y="14"/>
                        </a:cubicBezTo>
                        <a:cubicBezTo>
                          <a:pt x="49" y="18"/>
                          <a:pt x="41" y="22"/>
                          <a:pt x="31" y="24"/>
                        </a:cubicBezTo>
                        <a:cubicBezTo>
                          <a:pt x="28" y="17"/>
                          <a:pt x="26" y="9"/>
                          <a:pt x="26" y="0"/>
                        </a:cubicBezTo>
                        <a:cubicBezTo>
                          <a:pt x="25" y="1"/>
                          <a:pt x="25" y="1"/>
                          <a:pt x="24" y="1"/>
                        </a:cubicBezTo>
                        <a:cubicBezTo>
                          <a:pt x="24" y="9"/>
                          <a:pt x="26" y="17"/>
                          <a:pt x="29" y="24"/>
                        </a:cubicBezTo>
                        <a:cubicBezTo>
                          <a:pt x="24" y="25"/>
                          <a:pt x="20" y="26"/>
                          <a:pt x="15" y="26"/>
                        </a:cubicBezTo>
                        <a:cubicBezTo>
                          <a:pt x="10" y="26"/>
                          <a:pt x="6" y="25"/>
                          <a:pt x="1" y="25"/>
                        </a:cubicBezTo>
                        <a:cubicBezTo>
                          <a:pt x="1" y="25"/>
                          <a:pt x="1" y="26"/>
                          <a:pt x="0" y="27"/>
                        </a:cubicBezTo>
                        <a:cubicBezTo>
                          <a:pt x="5" y="27"/>
                          <a:pt x="10" y="28"/>
                          <a:pt x="15" y="28"/>
                        </a:cubicBezTo>
                        <a:cubicBezTo>
                          <a:pt x="20" y="28"/>
                          <a:pt x="25" y="27"/>
                          <a:pt x="3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36" name="Freeform 128"/>
                  <p:cNvSpPr>
                    <a:spLocks/>
                  </p:cNvSpPr>
                  <p:nvPr userDrawn="1"/>
                </p:nvSpPr>
                <p:spPr bwMode="auto">
                  <a:xfrm>
                    <a:off x="-1928871" y="227984"/>
                    <a:ext cx="38000" cy="38000"/>
                  </a:xfrm>
                  <a:custGeom>
                    <a:avLst/>
                    <a:gdLst>
                      <a:gd name="T0" fmla="*/ 0 w 7"/>
                      <a:gd name="T1" fmla="*/ 5 h 6"/>
                      <a:gd name="T2" fmla="*/ 2 w 7"/>
                      <a:gd name="T3" fmla="*/ 6 h 6"/>
                      <a:gd name="T4" fmla="*/ 7 w 7"/>
                      <a:gd name="T5" fmla="*/ 1 h 6"/>
                      <a:gd name="T6" fmla="*/ 5 w 7"/>
                      <a:gd name="T7" fmla="*/ 0 h 6"/>
                      <a:gd name="T8" fmla="*/ 0 w 7"/>
                      <a:gd name="T9" fmla="*/ 5 h 6"/>
                    </a:gdLst>
                    <a:ahLst/>
                    <a:cxnLst>
                      <a:cxn ang="0">
                        <a:pos x="T0" y="T1"/>
                      </a:cxn>
                      <a:cxn ang="0">
                        <a:pos x="T2" y="T3"/>
                      </a:cxn>
                      <a:cxn ang="0">
                        <a:pos x="T4" y="T5"/>
                      </a:cxn>
                      <a:cxn ang="0">
                        <a:pos x="T6" y="T7"/>
                      </a:cxn>
                      <a:cxn ang="0">
                        <a:pos x="T8" y="T9"/>
                      </a:cxn>
                    </a:cxnLst>
                    <a:rect l="0" t="0" r="r" b="b"/>
                    <a:pathLst>
                      <a:path w="7" h="6">
                        <a:moveTo>
                          <a:pt x="0" y="5"/>
                        </a:moveTo>
                        <a:cubicBezTo>
                          <a:pt x="1" y="5"/>
                          <a:pt x="1" y="6"/>
                          <a:pt x="2" y="6"/>
                        </a:cubicBezTo>
                        <a:cubicBezTo>
                          <a:pt x="4" y="5"/>
                          <a:pt x="5" y="3"/>
                          <a:pt x="7" y="1"/>
                        </a:cubicBezTo>
                        <a:cubicBezTo>
                          <a:pt x="6" y="0"/>
                          <a:pt x="6" y="0"/>
                          <a:pt x="5" y="0"/>
                        </a:cubicBezTo>
                        <a:cubicBezTo>
                          <a:pt x="4" y="1"/>
                          <a:pt x="2" y="3"/>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37" name="Freeform 129"/>
                  <p:cNvSpPr>
                    <a:spLocks/>
                  </p:cNvSpPr>
                  <p:nvPr userDrawn="1"/>
                </p:nvSpPr>
                <p:spPr bwMode="auto">
                  <a:xfrm>
                    <a:off x="-1974468" y="273581"/>
                    <a:ext cx="45597" cy="30398"/>
                  </a:xfrm>
                  <a:custGeom>
                    <a:avLst/>
                    <a:gdLst>
                      <a:gd name="T0" fmla="*/ 6 w 8"/>
                      <a:gd name="T1" fmla="*/ 0 h 6"/>
                      <a:gd name="T2" fmla="*/ 0 w 8"/>
                      <a:gd name="T3" fmla="*/ 4 h 6"/>
                      <a:gd name="T4" fmla="*/ 1 w 8"/>
                      <a:gd name="T5" fmla="*/ 6 h 6"/>
                      <a:gd name="T6" fmla="*/ 8 w 8"/>
                      <a:gd name="T7" fmla="*/ 1 h 6"/>
                      <a:gd name="T8" fmla="*/ 6 w 8"/>
                      <a:gd name="T9" fmla="*/ 0 h 6"/>
                    </a:gdLst>
                    <a:ahLst/>
                    <a:cxnLst>
                      <a:cxn ang="0">
                        <a:pos x="T0" y="T1"/>
                      </a:cxn>
                      <a:cxn ang="0">
                        <a:pos x="T2" y="T3"/>
                      </a:cxn>
                      <a:cxn ang="0">
                        <a:pos x="T4" y="T5"/>
                      </a:cxn>
                      <a:cxn ang="0">
                        <a:pos x="T6" y="T7"/>
                      </a:cxn>
                      <a:cxn ang="0">
                        <a:pos x="T8" y="T9"/>
                      </a:cxn>
                    </a:cxnLst>
                    <a:rect l="0" t="0" r="r" b="b"/>
                    <a:pathLst>
                      <a:path w="8" h="6">
                        <a:moveTo>
                          <a:pt x="6" y="0"/>
                        </a:moveTo>
                        <a:cubicBezTo>
                          <a:pt x="4" y="1"/>
                          <a:pt x="2" y="3"/>
                          <a:pt x="0" y="4"/>
                        </a:cubicBezTo>
                        <a:cubicBezTo>
                          <a:pt x="0" y="5"/>
                          <a:pt x="1" y="6"/>
                          <a:pt x="1" y="6"/>
                        </a:cubicBezTo>
                        <a:cubicBezTo>
                          <a:pt x="3" y="5"/>
                          <a:pt x="6" y="3"/>
                          <a:pt x="8" y="1"/>
                        </a:cubicBezTo>
                        <a:cubicBezTo>
                          <a:pt x="7" y="1"/>
                          <a:pt x="7" y="0"/>
                          <a:pt x="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38" name="Freeform 130"/>
                  <p:cNvSpPr>
                    <a:spLocks/>
                  </p:cNvSpPr>
                  <p:nvPr userDrawn="1"/>
                </p:nvSpPr>
                <p:spPr bwMode="auto">
                  <a:xfrm>
                    <a:off x="-2012463" y="691549"/>
                    <a:ext cx="189989" cy="22801"/>
                  </a:xfrm>
                  <a:custGeom>
                    <a:avLst/>
                    <a:gdLst>
                      <a:gd name="T0" fmla="*/ 14 w 32"/>
                      <a:gd name="T1" fmla="*/ 1 h 4"/>
                      <a:gd name="T2" fmla="*/ 2 w 32"/>
                      <a:gd name="T3" fmla="*/ 1 h 4"/>
                      <a:gd name="T4" fmla="*/ 0 w 32"/>
                      <a:gd name="T5" fmla="*/ 3 h 4"/>
                      <a:gd name="T6" fmla="*/ 14 w 32"/>
                      <a:gd name="T7" fmla="*/ 4 h 4"/>
                      <a:gd name="T8" fmla="*/ 29 w 32"/>
                      <a:gd name="T9" fmla="*/ 3 h 4"/>
                      <a:gd name="T10" fmla="*/ 32 w 32"/>
                      <a:gd name="T11" fmla="*/ 0 h 4"/>
                      <a:gd name="T12" fmla="*/ 32 w 32"/>
                      <a:gd name="T13" fmla="*/ 0 h 4"/>
                      <a:gd name="T14" fmla="*/ 14 w 32"/>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4">
                        <a:moveTo>
                          <a:pt x="14" y="1"/>
                        </a:moveTo>
                        <a:cubicBezTo>
                          <a:pt x="10" y="1"/>
                          <a:pt x="6" y="1"/>
                          <a:pt x="2" y="1"/>
                        </a:cubicBezTo>
                        <a:cubicBezTo>
                          <a:pt x="1" y="1"/>
                          <a:pt x="1" y="2"/>
                          <a:pt x="0" y="3"/>
                        </a:cubicBezTo>
                        <a:cubicBezTo>
                          <a:pt x="5" y="4"/>
                          <a:pt x="10" y="4"/>
                          <a:pt x="14" y="4"/>
                        </a:cubicBezTo>
                        <a:cubicBezTo>
                          <a:pt x="19" y="4"/>
                          <a:pt x="24" y="4"/>
                          <a:pt x="29" y="3"/>
                        </a:cubicBezTo>
                        <a:cubicBezTo>
                          <a:pt x="30" y="2"/>
                          <a:pt x="31" y="1"/>
                          <a:pt x="32" y="0"/>
                        </a:cubicBezTo>
                        <a:cubicBezTo>
                          <a:pt x="32" y="0"/>
                          <a:pt x="32" y="0"/>
                          <a:pt x="32" y="0"/>
                        </a:cubicBezTo>
                        <a:cubicBezTo>
                          <a:pt x="26" y="1"/>
                          <a:pt x="20" y="1"/>
                          <a:pt x="14"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39" name="Freeform 131"/>
                  <p:cNvSpPr>
                    <a:spLocks/>
                  </p:cNvSpPr>
                  <p:nvPr userDrawn="1"/>
                </p:nvSpPr>
                <p:spPr bwMode="auto">
                  <a:xfrm>
                    <a:off x="-2126457" y="668753"/>
                    <a:ext cx="121592" cy="38000"/>
                  </a:xfrm>
                  <a:custGeom>
                    <a:avLst/>
                    <a:gdLst>
                      <a:gd name="T0" fmla="*/ 0 w 21"/>
                      <a:gd name="T1" fmla="*/ 2 h 7"/>
                      <a:gd name="T2" fmla="*/ 0 w 21"/>
                      <a:gd name="T3" fmla="*/ 2 h 7"/>
                      <a:gd name="T4" fmla="*/ 19 w 21"/>
                      <a:gd name="T5" fmla="*/ 7 h 7"/>
                      <a:gd name="T6" fmla="*/ 21 w 21"/>
                      <a:gd name="T7" fmla="*/ 4 h 7"/>
                      <a:gd name="T8" fmla="*/ 0 w 21"/>
                      <a:gd name="T9" fmla="*/ 0 h 7"/>
                      <a:gd name="T10" fmla="*/ 0 w 21"/>
                      <a:gd name="T11" fmla="*/ 2 h 7"/>
                    </a:gdLst>
                    <a:ahLst/>
                    <a:cxnLst>
                      <a:cxn ang="0">
                        <a:pos x="T0" y="T1"/>
                      </a:cxn>
                      <a:cxn ang="0">
                        <a:pos x="T2" y="T3"/>
                      </a:cxn>
                      <a:cxn ang="0">
                        <a:pos x="T4" y="T5"/>
                      </a:cxn>
                      <a:cxn ang="0">
                        <a:pos x="T6" y="T7"/>
                      </a:cxn>
                      <a:cxn ang="0">
                        <a:pos x="T8" y="T9"/>
                      </a:cxn>
                      <a:cxn ang="0">
                        <a:pos x="T10" y="T11"/>
                      </a:cxn>
                    </a:cxnLst>
                    <a:rect l="0" t="0" r="r" b="b"/>
                    <a:pathLst>
                      <a:path w="21" h="7">
                        <a:moveTo>
                          <a:pt x="0" y="2"/>
                        </a:moveTo>
                        <a:cubicBezTo>
                          <a:pt x="0" y="2"/>
                          <a:pt x="0" y="2"/>
                          <a:pt x="0" y="2"/>
                        </a:cubicBezTo>
                        <a:cubicBezTo>
                          <a:pt x="6" y="4"/>
                          <a:pt x="13" y="6"/>
                          <a:pt x="19" y="7"/>
                        </a:cubicBezTo>
                        <a:cubicBezTo>
                          <a:pt x="20" y="6"/>
                          <a:pt x="20" y="5"/>
                          <a:pt x="21" y="4"/>
                        </a:cubicBezTo>
                        <a:cubicBezTo>
                          <a:pt x="14" y="3"/>
                          <a:pt x="7" y="2"/>
                          <a:pt x="0" y="0"/>
                        </a:cubicBezTo>
                        <a:cubicBezTo>
                          <a:pt x="0"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40" name="Freeform 132"/>
                  <p:cNvSpPr>
                    <a:spLocks/>
                  </p:cNvSpPr>
                  <p:nvPr userDrawn="1"/>
                </p:nvSpPr>
                <p:spPr bwMode="auto">
                  <a:xfrm>
                    <a:off x="-2255646" y="600356"/>
                    <a:ext cx="113994" cy="75995"/>
                  </a:xfrm>
                  <a:custGeom>
                    <a:avLst/>
                    <a:gdLst>
                      <a:gd name="T0" fmla="*/ 20 w 20"/>
                      <a:gd name="T1" fmla="*/ 10 h 13"/>
                      <a:gd name="T2" fmla="*/ 1 w 20"/>
                      <a:gd name="T3" fmla="*/ 0 h 13"/>
                      <a:gd name="T4" fmla="*/ 0 w 20"/>
                      <a:gd name="T5" fmla="*/ 2 h 13"/>
                      <a:gd name="T6" fmla="*/ 20 w 20"/>
                      <a:gd name="T7" fmla="*/ 13 h 13"/>
                      <a:gd name="T8" fmla="*/ 20 w 20"/>
                      <a:gd name="T9" fmla="*/ 10 h 13"/>
                    </a:gdLst>
                    <a:ahLst/>
                    <a:cxnLst>
                      <a:cxn ang="0">
                        <a:pos x="T0" y="T1"/>
                      </a:cxn>
                      <a:cxn ang="0">
                        <a:pos x="T2" y="T3"/>
                      </a:cxn>
                      <a:cxn ang="0">
                        <a:pos x="T4" y="T5"/>
                      </a:cxn>
                      <a:cxn ang="0">
                        <a:pos x="T6" y="T7"/>
                      </a:cxn>
                      <a:cxn ang="0">
                        <a:pos x="T8" y="T9"/>
                      </a:cxn>
                    </a:cxnLst>
                    <a:rect l="0" t="0" r="r" b="b"/>
                    <a:pathLst>
                      <a:path w="20" h="13">
                        <a:moveTo>
                          <a:pt x="20" y="10"/>
                        </a:moveTo>
                        <a:cubicBezTo>
                          <a:pt x="13" y="8"/>
                          <a:pt x="7" y="4"/>
                          <a:pt x="1" y="0"/>
                        </a:cubicBezTo>
                        <a:cubicBezTo>
                          <a:pt x="0" y="1"/>
                          <a:pt x="0" y="1"/>
                          <a:pt x="0" y="2"/>
                        </a:cubicBezTo>
                        <a:cubicBezTo>
                          <a:pt x="6" y="7"/>
                          <a:pt x="13" y="10"/>
                          <a:pt x="20" y="13"/>
                        </a:cubicBezTo>
                        <a:cubicBezTo>
                          <a:pt x="20" y="12"/>
                          <a:pt x="20" y="11"/>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41" name="Freeform 133"/>
                  <p:cNvSpPr>
                    <a:spLocks/>
                  </p:cNvSpPr>
                  <p:nvPr userDrawn="1"/>
                </p:nvSpPr>
                <p:spPr bwMode="auto">
                  <a:xfrm>
                    <a:off x="-2324044" y="539560"/>
                    <a:ext cx="60796" cy="68398"/>
                  </a:xfrm>
                  <a:custGeom>
                    <a:avLst/>
                    <a:gdLst>
                      <a:gd name="T0" fmla="*/ 10 w 10"/>
                      <a:gd name="T1" fmla="*/ 9 h 11"/>
                      <a:gd name="T2" fmla="*/ 0 w 10"/>
                      <a:gd name="T3" fmla="*/ 0 h 11"/>
                      <a:gd name="T4" fmla="*/ 1 w 10"/>
                      <a:gd name="T5" fmla="*/ 5 h 11"/>
                      <a:gd name="T6" fmla="*/ 9 w 10"/>
                      <a:gd name="T7" fmla="*/ 11 h 11"/>
                      <a:gd name="T8" fmla="*/ 10 w 10"/>
                      <a:gd name="T9" fmla="*/ 9 h 11"/>
                    </a:gdLst>
                    <a:ahLst/>
                    <a:cxnLst>
                      <a:cxn ang="0">
                        <a:pos x="T0" y="T1"/>
                      </a:cxn>
                      <a:cxn ang="0">
                        <a:pos x="T2" y="T3"/>
                      </a:cxn>
                      <a:cxn ang="0">
                        <a:pos x="T4" y="T5"/>
                      </a:cxn>
                      <a:cxn ang="0">
                        <a:pos x="T6" y="T7"/>
                      </a:cxn>
                      <a:cxn ang="0">
                        <a:pos x="T8" y="T9"/>
                      </a:cxn>
                    </a:cxnLst>
                    <a:rect l="0" t="0" r="r" b="b"/>
                    <a:pathLst>
                      <a:path w="10" h="11">
                        <a:moveTo>
                          <a:pt x="10" y="9"/>
                        </a:moveTo>
                        <a:cubicBezTo>
                          <a:pt x="6" y="6"/>
                          <a:pt x="3" y="3"/>
                          <a:pt x="0" y="0"/>
                        </a:cubicBezTo>
                        <a:cubicBezTo>
                          <a:pt x="0" y="1"/>
                          <a:pt x="1" y="3"/>
                          <a:pt x="1" y="5"/>
                        </a:cubicBezTo>
                        <a:cubicBezTo>
                          <a:pt x="4" y="7"/>
                          <a:pt x="6" y="9"/>
                          <a:pt x="9" y="11"/>
                        </a:cubicBezTo>
                        <a:cubicBezTo>
                          <a:pt x="9" y="10"/>
                          <a:pt x="10" y="9"/>
                          <a:pt x="1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42" name="Freeform 134"/>
                  <p:cNvSpPr>
                    <a:spLocks/>
                  </p:cNvSpPr>
                  <p:nvPr userDrawn="1"/>
                </p:nvSpPr>
                <p:spPr bwMode="auto">
                  <a:xfrm>
                    <a:off x="-1898473" y="281178"/>
                    <a:ext cx="91194" cy="30398"/>
                  </a:xfrm>
                  <a:custGeom>
                    <a:avLst/>
                    <a:gdLst>
                      <a:gd name="T0" fmla="*/ 0 w 15"/>
                      <a:gd name="T1" fmla="*/ 2 h 5"/>
                      <a:gd name="T2" fmla="*/ 2 w 15"/>
                      <a:gd name="T3" fmla="*/ 5 h 5"/>
                      <a:gd name="T4" fmla="*/ 13 w 15"/>
                      <a:gd name="T5" fmla="*/ 3 h 5"/>
                      <a:gd name="T6" fmla="*/ 15 w 15"/>
                      <a:gd name="T7" fmla="*/ 3 h 5"/>
                      <a:gd name="T8" fmla="*/ 12 w 15"/>
                      <a:gd name="T9" fmla="*/ 0 h 5"/>
                      <a:gd name="T10" fmla="*/ 0 w 15"/>
                      <a:gd name="T11" fmla="*/ 2 h 5"/>
                    </a:gdLst>
                    <a:ahLst/>
                    <a:cxnLst>
                      <a:cxn ang="0">
                        <a:pos x="T0" y="T1"/>
                      </a:cxn>
                      <a:cxn ang="0">
                        <a:pos x="T2" y="T3"/>
                      </a:cxn>
                      <a:cxn ang="0">
                        <a:pos x="T4" y="T5"/>
                      </a:cxn>
                      <a:cxn ang="0">
                        <a:pos x="T6" y="T7"/>
                      </a:cxn>
                      <a:cxn ang="0">
                        <a:pos x="T8" y="T9"/>
                      </a:cxn>
                      <a:cxn ang="0">
                        <a:pos x="T10" y="T11"/>
                      </a:cxn>
                    </a:cxnLst>
                    <a:rect l="0" t="0" r="r" b="b"/>
                    <a:pathLst>
                      <a:path w="15" h="5">
                        <a:moveTo>
                          <a:pt x="0" y="2"/>
                        </a:moveTo>
                        <a:cubicBezTo>
                          <a:pt x="0" y="3"/>
                          <a:pt x="1" y="4"/>
                          <a:pt x="2" y="5"/>
                        </a:cubicBezTo>
                        <a:cubicBezTo>
                          <a:pt x="5" y="4"/>
                          <a:pt x="9" y="3"/>
                          <a:pt x="13" y="3"/>
                        </a:cubicBezTo>
                        <a:cubicBezTo>
                          <a:pt x="14" y="3"/>
                          <a:pt x="14" y="3"/>
                          <a:pt x="15" y="3"/>
                        </a:cubicBezTo>
                        <a:cubicBezTo>
                          <a:pt x="14" y="2"/>
                          <a:pt x="13" y="1"/>
                          <a:pt x="12" y="0"/>
                        </a:cubicBezTo>
                        <a:cubicBezTo>
                          <a:pt x="8" y="0"/>
                          <a:pt x="4"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43" name="Freeform 135"/>
                  <p:cNvSpPr>
                    <a:spLocks/>
                  </p:cNvSpPr>
                  <p:nvPr userDrawn="1"/>
                </p:nvSpPr>
                <p:spPr bwMode="auto">
                  <a:xfrm>
                    <a:off x="-1966866" y="296377"/>
                    <a:ext cx="68398" cy="53199"/>
                  </a:xfrm>
                  <a:custGeom>
                    <a:avLst/>
                    <a:gdLst>
                      <a:gd name="T0" fmla="*/ 9 w 11"/>
                      <a:gd name="T1" fmla="*/ 0 h 8"/>
                      <a:gd name="T2" fmla="*/ 0 w 11"/>
                      <a:gd name="T3" fmla="*/ 4 h 8"/>
                      <a:gd name="T4" fmla="*/ 0 w 11"/>
                      <a:gd name="T5" fmla="*/ 8 h 8"/>
                      <a:gd name="T6" fmla="*/ 11 w 11"/>
                      <a:gd name="T7" fmla="*/ 2 h 8"/>
                      <a:gd name="T8" fmla="*/ 9 w 11"/>
                      <a:gd name="T9" fmla="*/ 0 h 8"/>
                    </a:gdLst>
                    <a:ahLst/>
                    <a:cxnLst>
                      <a:cxn ang="0">
                        <a:pos x="T0" y="T1"/>
                      </a:cxn>
                      <a:cxn ang="0">
                        <a:pos x="T2" y="T3"/>
                      </a:cxn>
                      <a:cxn ang="0">
                        <a:pos x="T4" y="T5"/>
                      </a:cxn>
                      <a:cxn ang="0">
                        <a:pos x="T6" y="T7"/>
                      </a:cxn>
                      <a:cxn ang="0">
                        <a:pos x="T8" y="T9"/>
                      </a:cxn>
                    </a:cxnLst>
                    <a:rect l="0" t="0" r="r" b="b"/>
                    <a:pathLst>
                      <a:path w="11" h="8">
                        <a:moveTo>
                          <a:pt x="9" y="0"/>
                        </a:moveTo>
                        <a:cubicBezTo>
                          <a:pt x="6" y="1"/>
                          <a:pt x="3" y="2"/>
                          <a:pt x="0" y="4"/>
                        </a:cubicBezTo>
                        <a:cubicBezTo>
                          <a:pt x="0" y="5"/>
                          <a:pt x="0" y="7"/>
                          <a:pt x="0" y="8"/>
                        </a:cubicBezTo>
                        <a:cubicBezTo>
                          <a:pt x="4" y="5"/>
                          <a:pt x="7" y="4"/>
                          <a:pt x="11" y="2"/>
                        </a:cubicBezTo>
                        <a:cubicBezTo>
                          <a:pt x="10" y="2"/>
                          <a:pt x="10" y="1"/>
                          <a:pt x="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44" name="Freeform 136"/>
                  <p:cNvSpPr>
                    <a:spLocks/>
                  </p:cNvSpPr>
                  <p:nvPr userDrawn="1"/>
                </p:nvSpPr>
                <p:spPr bwMode="auto">
                  <a:xfrm>
                    <a:off x="-2042861" y="326775"/>
                    <a:ext cx="75995" cy="60796"/>
                  </a:xfrm>
                  <a:custGeom>
                    <a:avLst/>
                    <a:gdLst>
                      <a:gd name="T0" fmla="*/ 12 w 13"/>
                      <a:gd name="T1" fmla="*/ 0 h 10"/>
                      <a:gd name="T2" fmla="*/ 0 w 13"/>
                      <a:gd name="T3" fmla="*/ 10 h 10"/>
                      <a:gd name="T4" fmla="*/ 6 w 13"/>
                      <a:gd name="T5" fmla="*/ 9 h 10"/>
                      <a:gd name="T6" fmla="*/ 13 w 13"/>
                      <a:gd name="T7" fmla="*/ 3 h 10"/>
                      <a:gd name="T8" fmla="*/ 12 w 13"/>
                      <a:gd name="T9" fmla="*/ 0 h 10"/>
                    </a:gdLst>
                    <a:ahLst/>
                    <a:cxnLst>
                      <a:cxn ang="0">
                        <a:pos x="T0" y="T1"/>
                      </a:cxn>
                      <a:cxn ang="0">
                        <a:pos x="T2" y="T3"/>
                      </a:cxn>
                      <a:cxn ang="0">
                        <a:pos x="T4" y="T5"/>
                      </a:cxn>
                      <a:cxn ang="0">
                        <a:pos x="T6" y="T7"/>
                      </a:cxn>
                      <a:cxn ang="0">
                        <a:pos x="T8" y="T9"/>
                      </a:cxn>
                    </a:cxnLst>
                    <a:rect l="0" t="0" r="r" b="b"/>
                    <a:pathLst>
                      <a:path w="13" h="10">
                        <a:moveTo>
                          <a:pt x="12" y="0"/>
                        </a:moveTo>
                        <a:cubicBezTo>
                          <a:pt x="8" y="3"/>
                          <a:pt x="4" y="6"/>
                          <a:pt x="0" y="10"/>
                        </a:cubicBezTo>
                        <a:cubicBezTo>
                          <a:pt x="2" y="10"/>
                          <a:pt x="4" y="9"/>
                          <a:pt x="6" y="9"/>
                        </a:cubicBezTo>
                        <a:cubicBezTo>
                          <a:pt x="8" y="7"/>
                          <a:pt x="10" y="5"/>
                          <a:pt x="13" y="3"/>
                        </a:cubicBezTo>
                        <a:cubicBezTo>
                          <a:pt x="12" y="2"/>
                          <a:pt x="12" y="1"/>
                          <a:pt x="1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45" name="Freeform 137"/>
                  <p:cNvSpPr>
                    <a:spLocks/>
                  </p:cNvSpPr>
                  <p:nvPr userDrawn="1"/>
                </p:nvSpPr>
                <p:spPr bwMode="auto">
                  <a:xfrm>
                    <a:off x="-2141656" y="395172"/>
                    <a:ext cx="121592" cy="372376"/>
                  </a:xfrm>
                  <a:custGeom>
                    <a:avLst/>
                    <a:gdLst>
                      <a:gd name="T0" fmla="*/ 3 w 21"/>
                      <a:gd name="T1" fmla="*/ 49 h 64"/>
                      <a:gd name="T2" fmla="*/ 3 w 21"/>
                      <a:gd name="T3" fmla="*/ 47 h 64"/>
                      <a:gd name="T4" fmla="*/ 13 w 21"/>
                      <a:gd name="T5" fmla="*/ 11 h 64"/>
                      <a:gd name="T6" fmla="*/ 14 w 21"/>
                      <a:gd name="T7" fmla="*/ 9 h 64"/>
                      <a:gd name="T8" fmla="*/ 21 w 21"/>
                      <a:gd name="T9" fmla="*/ 0 h 64"/>
                      <a:gd name="T10" fmla="*/ 15 w 21"/>
                      <a:gd name="T11" fmla="*/ 1 h 64"/>
                      <a:gd name="T12" fmla="*/ 12 w 21"/>
                      <a:gd name="T13" fmla="*/ 7 h 64"/>
                      <a:gd name="T14" fmla="*/ 11 w 21"/>
                      <a:gd name="T15" fmla="*/ 9 h 64"/>
                      <a:gd name="T16" fmla="*/ 0 w 21"/>
                      <a:gd name="T17" fmla="*/ 45 h 64"/>
                      <a:gd name="T18" fmla="*/ 0 w 21"/>
                      <a:gd name="T19" fmla="*/ 48 h 64"/>
                      <a:gd name="T20" fmla="*/ 0 w 21"/>
                      <a:gd name="T21" fmla="*/ 49 h 64"/>
                      <a:gd name="T22" fmla="*/ 1 w 21"/>
                      <a:gd name="T23" fmla="*/ 63 h 64"/>
                      <a:gd name="T24" fmla="*/ 5 w 21"/>
                      <a:gd name="T25" fmla="*/ 64 h 64"/>
                      <a:gd name="T26" fmla="*/ 3 w 21"/>
                      <a:gd name="T27" fmla="*/ 49 h 64"/>
                      <a:gd name="T28" fmla="*/ 3 w 21"/>
                      <a:gd name="T29" fmla="*/ 4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64">
                        <a:moveTo>
                          <a:pt x="3" y="49"/>
                        </a:moveTo>
                        <a:cubicBezTo>
                          <a:pt x="3" y="48"/>
                          <a:pt x="3" y="47"/>
                          <a:pt x="3" y="47"/>
                        </a:cubicBezTo>
                        <a:cubicBezTo>
                          <a:pt x="4" y="33"/>
                          <a:pt x="7" y="21"/>
                          <a:pt x="13" y="11"/>
                        </a:cubicBezTo>
                        <a:cubicBezTo>
                          <a:pt x="13" y="10"/>
                          <a:pt x="14" y="10"/>
                          <a:pt x="14" y="9"/>
                        </a:cubicBezTo>
                        <a:cubicBezTo>
                          <a:pt x="16" y="6"/>
                          <a:pt x="19" y="2"/>
                          <a:pt x="21" y="0"/>
                        </a:cubicBezTo>
                        <a:cubicBezTo>
                          <a:pt x="19" y="0"/>
                          <a:pt x="17" y="1"/>
                          <a:pt x="15" y="1"/>
                        </a:cubicBezTo>
                        <a:cubicBezTo>
                          <a:pt x="14" y="3"/>
                          <a:pt x="13" y="5"/>
                          <a:pt x="12" y="7"/>
                        </a:cubicBezTo>
                        <a:cubicBezTo>
                          <a:pt x="11" y="7"/>
                          <a:pt x="11" y="8"/>
                          <a:pt x="11" y="9"/>
                        </a:cubicBezTo>
                        <a:cubicBezTo>
                          <a:pt x="5" y="19"/>
                          <a:pt x="1" y="32"/>
                          <a:pt x="0" y="45"/>
                        </a:cubicBezTo>
                        <a:cubicBezTo>
                          <a:pt x="0" y="46"/>
                          <a:pt x="0" y="47"/>
                          <a:pt x="0" y="48"/>
                        </a:cubicBezTo>
                        <a:cubicBezTo>
                          <a:pt x="0" y="48"/>
                          <a:pt x="0" y="48"/>
                          <a:pt x="0" y="49"/>
                        </a:cubicBezTo>
                        <a:cubicBezTo>
                          <a:pt x="0" y="54"/>
                          <a:pt x="1" y="58"/>
                          <a:pt x="1" y="63"/>
                        </a:cubicBezTo>
                        <a:cubicBezTo>
                          <a:pt x="3" y="63"/>
                          <a:pt x="4" y="64"/>
                          <a:pt x="5" y="64"/>
                        </a:cubicBezTo>
                        <a:cubicBezTo>
                          <a:pt x="4" y="59"/>
                          <a:pt x="4" y="55"/>
                          <a:pt x="3" y="49"/>
                        </a:cubicBezTo>
                        <a:cubicBezTo>
                          <a:pt x="3" y="49"/>
                          <a:pt x="3" y="49"/>
                          <a:pt x="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46" name="Freeform 138"/>
                  <p:cNvSpPr>
                    <a:spLocks/>
                  </p:cNvSpPr>
                  <p:nvPr userDrawn="1"/>
                </p:nvSpPr>
                <p:spPr bwMode="auto">
                  <a:xfrm>
                    <a:off x="-2035264" y="197586"/>
                    <a:ext cx="15199" cy="7602"/>
                  </a:xfrm>
                  <a:custGeom>
                    <a:avLst/>
                    <a:gdLst>
                      <a:gd name="T0" fmla="*/ 2 w 3"/>
                      <a:gd name="T1" fmla="*/ 0 h 1"/>
                      <a:gd name="T2" fmla="*/ 0 w 3"/>
                      <a:gd name="T3" fmla="*/ 0 h 1"/>
                      <a:gd name="T4" fmla="*/ 3 w 3"/>
                      <a:gd name="T5" fmla="*/ 1 h 1"/>
                      <a:gd name="T6" fmla="*/ 2 w 3"/>
                      <a:gd name="T7" fmla="*/ 0 h 1"/>
                    </a:gdLst>
                    <a:ahLst/>
                    <a:cxnLst>
                      <a:cxn ang="0">
                        <a:pos x="T0" y="T1"/>
                      </a:cxn>
                      <a:cxn ang="0">
                        <a:pos x="T2" y="T3"/>
                      </a:cxn>
                      <a:cxn ang="0">
                        <a:pos x="T4" y="T5"/>
                      </a:cxn>
                      <a:cxn ang="0">
                        <a:pos x="T6" y="T7"/>
                      </a:cxn>
                    </a:cxnLst>
                    <a:rect l="0" t="0" r="r" b="b"/>
                    <a:pathLst>
                      <a:path w="3" h="1">
                        <a:moveTo>
                          <a:pt x="2" y="0"/>
                        </a:moveTo>
                        <a:cubicBezTo>
                          <a:pt x="1" y="0"/>
                          <a:pt x="1" y="0"/>
                          <a:pt x="0" y="0"/>
                        </a:cubicBezTo>
                        <a:cubicBezTo>
                          <a:pt x="1" y="0"/>
                          <a:pt x="2" y="1"/>
                          <a:pt x="3" y="1"/>
                        </a:cubicBezTo>
                        <a:cubicBezTo>
                          <a:pt x="2" y="1"/>
                          <a:pt x="2" y="0"/>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47" name="Freeform 139"/>
                  <p:cNvSpPr>
                    <a:spLocks/>
                  </p:cNvSpPr>
                  <p:nvPr userDrawn="1"/>
                </p:nvSpPr>
                <p:spPr bwMode="auto">
                  <a:xfrm>
                    <a:off x="-2020065" y="197586"/>
                    <a:ext cx="182387" cy="189989"/>
                  </a:xfrm>
                  <a:custGeom>
                    <a:avLst/>
                    <a:gdLst>
                      <a:gd name="T0" fmla="*/ 13 w 31"/>
                      <a:gd name="T1" fmla="*/ 13 h 33"/>
                      <a:gd name="T2" fmla="*/ 15 w 31"/>
                      <a:gd name="T3" fmla="*/ 14 h 33"/>
                      <a:gd name="T4" fmla="*/ 18 w 31"/>
                      <a:gd name="T5" fmla="*/ 18 h 33"/>
                      <a:gd name="T6" fmla="*/ 20 w 31"/>
                      <a:gd name="T7" fmla="*/ 20 h 33"/>
                      <a:gd name="T8" fmla="*/ 27 w 31"/>
                      <a:gd name="T9" fmla="*/ 32 h 33"/>
                      <a:gd name="T10" fmla="*/ 31 w 31"/>
                      <a:gd name="T11" fmla="*/ 33 h 33"/>
                      <a:gd name="T12" fmla="*/ 23 w 31"/>
                      <a:gd name="T13" fmla="*/ 20 h 33"/>
                      <a:gd name="T14" fmla="*/ 21 w 31"/>
                      <a:gd name="T15" fmla="*/ 17 h 33"/>
                      <a:gd name="T16" fmla="*/ 17 w 31"/>
                      <a:gd name="T17" fmla="*/ 12 h 33"/>
                      <a:gd name="T18" fmla="*/ 15 w 31"/>
                      <a:gd name="T19" fmla="*/ 11 h 33"/>
                      <a:gd name="T20" fmla="*/ 3 w 31"/>
                      <a:gd name="T21" fmla="*/ 0 h 33"/>
                      <a:gd name="T22" fmla="*/ 0 w 31"/>
                      <a:gd name="T23" fmla="*/ 0 h 33"/>
                      <a:gd name="T24" fmla="*/ 1 w 31"/>
                      <a:gd name="T25" fmla="*/ 3 h 33"/>
                      <a:gd name="T26" fmla="*/ 13 w 31"/>
                      <a:gd name="T27" fmla="*/ 1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3">
                        <a:moveTo>
                          <a:pt x="13" y="13"/>
                        </a:moveTo>
                        <a:cubicBezTo>
                          <a:pt x="14" y="13"/>
                          <a:pt x="14" y="14"/>
                          <a:pt x="15" y="14"/>
                        </a:cubicBezTo>
                        <a:cubicBezTo>
                          <a:pt x="16" y="15"/>
                          <a:pt x="17" y="17"/>
                          <a:pt x="18" y="18"/>
                        </a:cubicBezTo>
                        <a:cubicBezTo>
                          <a:pt x="19" y="19"/>
                          <a:pt x="19" y="20"/>
                          <a:pt x="20" y="20"/>
                        </a:cubicBezTo>
                        <a:cubicBezTo>
                          <a:pt x="23" y="24"/>
                          <a:pt x="25" y="28"/>
                          <a:pt x="27" y="32"/>
                        </a:cubicBezTo>
                        <a:cubicBezTo>
                          <a:pt x="28" y="32"/>
                          <a:pt x="29" y="32"/>
                          <a:pt x="31" y="33"/>
                        </a:cubicBezTo>
                        <a:cubicBezTo>
                          <a:pt x="28" y="28"/>
                          <a:pt x="26" y="24"/>
                          <a:pt x="23" y="20"/>
                        </a:cubicBezTo>
                        <a:cubicBezTo>
                          <a:pt x="22" y="19"/>
                          <a:pt x="21" y="18"/>
                          <a:pt x="21" y="17"/>
                        </a:cubicBezTo>
                        <a:cubicBezTo>
                          <a:pt x="19" y="15"/>
                          <a:pt x="18" y="14"/>
                          <a:pt x="17" y="12"/>
                        </a:cubicBezTo>
                        <a:cubicBezTo>
                          <a:pt x="16" y="12"/>
                          <a:pt x="16" y="11"/>
                          <a:pt x="15" y="11"/>
                        </a:cubicBezTo>
                        <a:cubicBezTo>
                          <a:pt x="11" y="7"/>
                          <a:pt x="7" y="3"/>
                          <a:pt x="3" y="0"/>
                        </a:cubicBezTo>
                        <a:cubicBezTo>
                          <a:pt x="2" y="0"/>
                          <a:pt x="1" y="0"/>
                          <a:pt x="0" y="0"/>
                        </a:cubicBezTo>
                        <a:cubicBezTo>
                          <a:pt x="1" y="1"/>
                          <a:pt x="1" y="2"/>
                          <a:pt x="1" y="3"/>
                        </a:cubicBezTo>
                        <a:cubicBezTo>
                          <a:pt x="6" y="6"/>
                          <a:pt x="10" y="9"/>
                          <a:pt x="13"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48" name="Freeform 140"/>
                  <p:cNvSpPr>
                    <a:spLocks/>
                  </p:cNvSpPr>
                  <p:nvPr userDrawn="1"/>
                </p:nvSpPr>
                <p:spPr bwMode="auto">
                  <a:xfrm>
                    <a:off x="-1852877" y="395172"/>
                    <a:ext cx="53199" cy="296382"/>
                  </a:xfrm>
                  <a:custGeom>
                    <a:avLst/>
                    <a:gdLst>
                      <a:gd name="T0" fmla="*/ 10 w 10"/>
                      <a:gd name="T1" fmla="*/ 33 h 52"/>
                      <a:gd name="T2" fmla="*/ 10 w 10"/>
                      <a:gd name="T3" fmla="*/ 32 h 52"/>
                      <a:gd name="T4" fmla="*/ 4 w 10"/>
                      <a:gd name="T5" fmla="*/ 1 h 52"/>
                      <a:gd name="T6" fmla="*/ 0 w 10"/>
                      <a:gd name="T7" fmla="*/ 0 h 52"/>
                      <a:gd name="T8" fmla="*/ 8 w 10"/>
                      <a:gd name="T9" fmla="*/ 32 h 52"/>
                      <a:gd name="T10" fmla="*/ 8 w 10"/>
                      <a:gd name="T11" fmla="*/ 32 h 52"/>
                      <a:gd name="T12" fmla="*/ 8 w 10"/>
                      <a:gd name="T13" fmla="*/ 34 h 52"/>
                      <a:gd name="T14" fmla="*/ 5 w 10"/>
                      <a:gd name="T15" fmla="*/ 52 h 52"/>
                      <a:gd name="T16" fmla="*/ 5 w 10"/>
                      <a:gd name="T17" fmla="*/ 52 h 52"/>
                      <a:gd name="T18" fmla="*/ 9 w 10"/>
                      <a:gd name="T19" fmla="*/ 48 h 52"/>
                      <a:gd name="T20" fmla="*/ 10 w 10"/>
                      <a:gd name="T21" fmla="*/ 35 h 52"/>
                      <a:gd name="T22" fmla="*/ 10 w 10"/>
                      <a:gd name="T23" fmla="*/ 3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52">
                        <a:moveTo>
                          <a:pt x="10" y="33"/>
                        </a:moveTo>
                        <a:cubicBezTo>
                          <a:pt x="10" y="32"/>
                          <a:pt x="10" y="32"/>
                          <a:pt x="10" y="32"/>
                        </a:cubicBezTo>
                        <a:cubicBezTo>
                          <a:pt x="10" y="21"/>
                          <a:pt x="8" y="11"/>
                          <a:pt x="4" y="1"/>
                        </a:cubicBezTo>
                        <a:cubicBezTo>
                          <a:pt x="3" y="1"/>
                          <a:pt x="2" y="0"/>
                          <a:pt x="0" y="0"/>
                        </a:cubicBezTo>
                        <a:cubicBezTo>
                          <a:pt x="5" y="10"/>
                          <a:pt x="8" y="21"/>
                          <a:pt x="8" y="32"/>
                        </a:cubicBezTo>
                        <a:cubicBezTo>
                          <a:pt x="8" y="32"/>
                          <a:pt x="8" y="32"/>
                          <a:pt x="8" y="32"/>
                        </a:cubicBezTo>
                        <a:cubicBezTo>
                          <a:pt x="8" y="33"/>
                          <a:pt x="8" y="34"/>
                          <a:pt x="8" y="34"/>
                        </a:cubicBezTo>
                        <a:cubicBezTo>
                          <a:pt x="7" y="40"/>
                          <a:pt x="6" y="46"/>
                          <a:pt x="5" y="52"/>
                        </a:cubicBezTo>
                        <a:cubicBezTo>
                          <a:pt x="5" y="52"/>
                          <a:pt x="5" y="52"/>
                          <a:pt x="5" y="52"/>
                        </a:cubicBezTo>
                        <a:cubicBezTo>
                          <a:pt x="6" y="51"/>
                          <a:pt x="8" y="49"/>
                          <a:pt x="9" y="48"/>
                        </a:cubicBezTo>
                        <a:cubicBezTo>
                          <a:pt x="10" y="43"/>
                          <a:pt x="10" y="39"/>
                          <a:pt x="10" y="35"/>
                        </a:cubicBezTo>
                        <a:cubicBezTo>
                          <a:pt x="10" y="34"/>
                          <a:pt x="10" y="33"/>
                          <a:pt x="10"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49" name="Freeform 141"/>
                  <p:cNvSpPr>
                    <a:spLocks/>
                  </p:cNvSpPr>
                  <p:nvPr userDrawn="1"/>
                </p:nvSpPr>
                <p:spPr bwMode="auto">
                  <a:xfrm>
                    <a:off x="-2020065" y="197586"/>
                    <a:ext cx="60796" cy="174790"/>
                  </a:xfrm>
                  <a:custGeom>
                    <a:avLst/>
                    <a:gdLst>
                      <a:gd name="T0" fmla="*/ 7 w 11"/>
                      <a:gd name="T1" fmla="*/ 18 h 31"/>
                      <a:gd name="T2" fmla="*/ 8 w 11"/>
                      <a:gd name="T3" fmla="*/ 20 h 31"/>
                      <a:gd name="T4" fmla="*/ 9 w 11"/>
                      <a:gd name="T5" fmla="*/ 23 h 31"/>
                      <a:gd name="T6" fmla="*/ 10 w 11"/>
                      <a:gd name="T7" fmla="*/ 26 h 31"/>
                      <a:gd name="T8" fmla="*/ 10 w 11"/>
                      <a:gd name="T9" fmla="*/ 31 h 31"/>
                      <a:gd name="T10" fmla="*/ 11 w 11"/>
                      <a:gd name="T11" fmla="*/ 31 h 31"/>
                      <a:gd name="T12" fmla="*/ 10 w 11"/>
                      <a:gd name="T13" fmla="*/ 26 h 31"/>
                      <a:gd name="T14" fmla="*/ 10 w 11"/>
                      <a:gd name="T15" fmla="*/ 22 h 31"/>
                      <a:gd name="T16" fmla="*/ 9 w 11"/>
                      <a:gd name="T17" fmla="*/ 19 h 31"/>
                      <a:gd name="T18" fmla="*/ 8 w 11"/>
                      <a:gd name="T19" fmla="*/ 17 h 31"/>
                      <a:gd name="T20" fmla="*/ 2 w 11"/>
                      <a:gd name="T21" fmla="*/ 3 h 31"/>
                      <a:gd name="T22" fmla="*/ 1 w 11"/>
                      <a:gd name="T23" fmla="*/ 0 h 31"/>
                      <a:gd name="T24" fmla="*/ 0 w 11"/>
                      <a:gd name="T25" fmla="*/ 0 h 31"/>
                      <a:gd name="T26" fmla="*/ 1 w 11"/>
                      <a:gd name="T27" fmla="*/ 1 h 31"/>
                      <a:gd name="T28" fmla="*/ 7 w 11"/>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1">
                        <a:moveTo>
                          <a:pt x="7" y="18"/>
                        </a:moveTo>
                        <a:cubicBezTo>
                          <a:pt x="8" y="18"/>
                          <a:pt x="8" y="19"/>
                          <a:pt x="8" y="20"/>
                        </a:cubicBezTo>
                        <a:cubicBezTo>
                          <a:pt x="8" y="21"/>
                          <a:pt x="9" y="22"/>
                          <a:pt x="9" y="23"/>
                        </a:cubicBezTo>
                        <a:cubicBezTo>
                          <a:pt x="9" y="24"/>
                          <a:pt x="9" y="25"/>
                          <a:pt x="10" y="26"/>
                        </a:cubicBezTo>
                        <a:cubicBezTo>
                          <a:pt x="10" y="28"/>
                          <a:pt x="10" y="29"/>
                          <a:pt x="10" y="31"/>
                        </a:cubicBezTo>
                        <a:cubicBezTo>
                          <a:pt x="11" y="31"/>
                          <a:pt x="11" y="31"/>
                          <a:pt x="11" y="31"/>
                        </a:cubicBezTo>
                        <a:cubicBezTo>
                          <a:pt x="11" y="29"/>
                          <a:pt x="11" y="27"/>
                          <a:pt x="10" y="26"/>
                        </a:cubicBezTo>
                        <a:cubicBezTo>
                          <a:pt x="10" y="25"/>
                          <a:pt x="10" y="23"/>
                          <a:pt x="10" y="22"/>
                        </a:cubicBezTo>
                        <a:cubicBezTo>
                          <a:pt x="9" y="21"/>
                          <a:pt x="9" y="20"/>
                          <a:pt x="9" y="19"/>
                        </a:cubicBezTo>
                        <a:cubicBezTo>
                          <a:pt x="9" y="19"/>
                          <a:pt x="8" y="18"/>
                          <a:pt x="8" y="17"/>
                        </a:cubicBezTo>
                        <a:cubicBezTo>
                          <a:pt x="7" y="12"/>
                          <a:pt x="5" y="7"/>
                          <a:pt x="2" y="3"/>
                        </a:cubicBezTo>
                        <a:cubicBezTo>
                          <a:pt x="2" y="2"/>
                          <a:pt x="2" y="1"/>
                          <a:pt x="1" y="0"/>
                        </a:cubicBezTo>
                        <a:cubicBezTo>
                          <a:pt x="1" y="0"/>
                          <a:pt x="0" y="0"/>
                          <a:pt x="0" y="0"/>
                        </a:cubicBezTo>
                        <a:cubicBezTo>
                          <a:pt x="0" y="0"/>
                          <a:pt x="0" y="1"/>
                          <a:pt x="1" y="1"/>
                        </a:cubicBezTo>
                        <a:cubicBezTo>
                          <a:pt x="3" y="7"/>
                          <a:pt x="6" y="12"/>
                          <a:pt x="7"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50" name="Freeform 142"/>
                  <p:cNvSpPr>
                    <a:spLocks/>
                  </p:cNvSpPr>
                  <p:nvPr userDrawn="1"/>
                </p:nvSpPr>
                <p:spPr bwMode="auto">
                  <a:xfrm>
                    <a:off x="-2058060" y="387571"/>
                    <a:ext cx="113994" cy="395172"/>
                  </a:xfrm>
                  <a:custGeom>
                    <a:avLst/>
                    <a:gdLst>
                      <a:gd name="T0" fmla="*/ 10 w 19"/>
                      <a:gd name="T1" fmla="*/ 54 h 68"/>
                      <a:gd name="T2" fmla="*/ 17 w 19"/>
                      <a:gd name="T3" fmla="*/ 28 h 68"/>
                      <a:gd name="T4" fmla="*/ 18 w 19"/>
                      <a:gd name="T5" fmla="*/ 26 h 68"/>
                      <a:gd name="T6" fmla="*/ 19 w 19"/>
                      <a:gd name="T7" fmla="*/ 13 h 68"/>
                      <a:gd name="T8" fmla="*/ 18 w 19"/>
                      <a:gd name="T9" fmla="*/ 0 h 68"/>
                      <a:gd name="T10" fmla="*/ 17 w 19"/>
                      <a:gd name="T11" fmla="*/ 0 h 68"/>
                      <a:gd name="T12" fmla="*/ 18 w 19"/>
                      <a:gd name="T13" fmla="*/ 13 h 68"/>
                      <a:gd name="T14" fmla="*/ 17 w 19"/>
                      <a:gd name="T15" fmla="*/ 25 h 68"/>
                      <a:gd name="T16" fmla="*/ 16 w 19"/>
                      <a:gd name="T17" fmla="*/ 27 h 68"/>
                      <a:gd name="T18" fmla="*/ 9 w 19"/>
                      <a:gd name="T19" fmla="*/ 53 h 68"/>
                      <a:gd name="T20" fmla="*/ 7 w 19"/>
                      <a:gd name="T21" fmla="*/ 56 h 68"/>
                      <a:gd name="T22" fmla="*/ 0 w 19"/>
                      <a:gd name="T23" fmla="*/ 68 h 68"/>
                      <a:gd name="T24" fmla="*/ 1 w 19"/>
                      <a:gd name="T25" fmla="*/ 68 h 68"/>
                      <a:gd name="T26" fmla="*/ 8 w 19"/>
                      <a:gd name="T27" fmla="*/ 56 h 68"/>
                      <a:gd name="T28" fmla="*/ 10 w 19"/>
                      <a:gd name="T29" fmla="*/ 5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68">
                        <a:moveTo>
                          <a:pt x="10" y="54"/>
                        </a:moveTo>
                        <a:cubicBezTo>
                          <a:pt x="13" y="46"/>
                          <a:pt x="16" y="37"/>
                          <a:pt x="17" y="28"/>
                        </a:cubicBezTo>
                        <a:cubicBezTo>
                          <a:pt x="18" y="27"/>
                          <a:pt x="18" y="26"/>
                          <a:pt x="18" y="26"/>
                        </a:cubicBezTo>
                        <a:cubicBezTo>
                          <a:pt x="18" y="22"/>
                          <a:pt x="19" y="17"/>
                          <a:pt x="19" y="13"/>
                        </a:cubicBezTo>
                        <a:cubicBezTo>
                          <a:pt x="19" y="8"/>
                          <a:pt x="18" y="4"/>
                          <a:pt x="18" y="0"/>
                        </a:cubicBezTo>
                        <a:cubicBezTo>
                          <a:pt x="17" y="0"/>
                          <a:pt x="17" y="0"/>
                          <a:pt x="17" y="0"/>
                        </a:cubicBezTo>
                        <a:cubicBezTo>
                          <a:pt x="17" y="4"/>
                          <a:pt x="18" y="8"/>
                          <a:pt x="18" y="13"/>
                        </a:cubicBezTo>
                        <a:cubicBezTo>
                          <a:pt x="18" y="17"/>
                          <a:pt x="17" y="21"/>
                          <a:pt x="17" y="25"/>
                        </a:cubicBezTo>
                        <a:cubicBezTo>
                          <a:pt x="17" y="26"/>
                          <a:pt x="17" y="27"/>
                          <a:pt x="16" y="27"/>
                        </a:cubicBezTo>
                        <a:cubicBezTo>
                          <a:pt x="15" y="37"/>
                          <a:pt x="12" y="45"/>
                          <a:pt x="9" y="53"/>
                        </a:cubicBezTo>
                        <a:cubicBezTo>
                          <a:pt x="8" y="54"/>
                          <a:pt x="8" y="55"/>
                          <a:pt x="7" y="56"/>
                        </a:cubicBezTo>
                        <a:cubicBezTo>
                          <a:pt x="5" y="60"/>
                          <a:pt x="3" y="64"/>
                          <a:pt x="0" y="68"/>
                        </a:cubicBezTo>
                        <a:cubicBezTo>
                          <a:pt x="0" y="68"/>
                          <a:pt x="1" y="68"/>
                          <a:pt x="1" y="68"/>
                        </a:cubicBezTo>
                        <a:cubicBezTo>
                          <a:pt x="4" y="64"/>
                          <a:pt x="6" y="60"/>
                          <a:pt x="8" y="56"/>
                        </a:cubicBezTo>
                        <a:cubicBezTo>
                          <a:pt x="9" y="55"/>
                          <a:pt x="9" y="54"/>
                          <a:pt x="10"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51" name="Freeform 143"/>
                  <p:cNvSpPr>
                    <a:spLocks/>
                  </p:cNvSpPr>
                  <p:nvPr userDrawn="1"/>
                </p:nvSpPr>
                <p:spPr bwMode="auto">
                  <a:xfrm>
                    <a:off x="-2286044" y="372372"/>
                    <a:ext cx="539565" cy="281183"/>
                  </a:xfrm>
                  <a:custGeom>
                    <a:avLst/>
                    <a:gdLst>
                      <a:gd name="T0" fmla="*/ 73 w 93"/>
                      <a:gd name="T1" fmla="*/ 2 h 49"/>
                      <a:gd name="T2" fmla="*/ 61 w 93"/>
                      <a:gd name="T3" fmla="*/ 0 h 49"/>
                      <a:gd name="T4" fmla="*/ 56 w 93"/>
                      <a:gd name="T5" fmla="*/ 1 h 49"/>
                      <a:gd name="T6" fmla="*/ 55 w 93"/>
                      <a:gd name="T7" fmla="*/ 1 h 49"/>
                      <a:gd name="T8" fmla="*/ 48 w 93"/>
                      <a:gd name="T9" fmla="*/ 2 h 49"/>
                      <a:gd name="T10" fmla="*/ 42 w 93"/>
                      <a:gd name="T11" fmla="*/ 3 h 49"/>
                      <a:gd name="T12" fmla="*/ 33 w 93"/>
                      <a:gd name="T13" fmla="*/ 7 h 49"/>
                      <a:gd name="T14" fmla="*/ 31 w 93"/>
                      <a:gd name="T15" fmla="*/ 8 h 49"/>
                      <a:gd name="T16" fmla="*/ 3 w 93"/>
                      <a:gd name="T17" fmla="*/ 39 h 49"/>
                      <a:gd name="T18" fmla="*/ 2 w 93"/>
                      <a:gd name="T19" fmla="*/ 41 h 49"/>
                      <a:gd name="T20" fmla="*/ 0 w 93"/>
                      <a:gd name="T21" fmla="*/ 47 h 49"/>
                      <a:gd name="T22" fmla="*/ 1 w 93"/>
                      <a:gd name="T23" fmla="*/ 49 h 49"/>
                      <a:gd name="T24" fmla="*/ 4 w 93"/>
                      <a:gd name="T25" fmla="*/ 42 h 49"/>
                      <a:gd name="T26" fmla="*/ 5 w 93"/>
                      <a:gd name="T27" fmla="*/ 40 h 49"/>
                      <a:gd name="T28" fmla="*/ 32 w 93"/>
                      <a:gd name="T29" fmla="*/ 10 h 49"/>
                      <a:gd name="T30" fmla="*/ 34 w 93"/>
                      <a:gd name="T31" fmla="*/ 9 h 49"/>
                      <a:gd name="T32" fmla="*/ 39 w 93"/>
                      <a:gd name="T33" fmla="*/ 6 h 49"/>
                      <a:gd name="T34" fmla="*/ 45 w 93"/>
                      <a:gd name="T35" fmla="*/ 5 h 49"/>
                      <a:gd name="T36" fmla="*/ 56 w 93"/>
                      <a:gd name="T37" fmla="*/ 3 h 49"/>
                      <a:gd name="T38" fmla="*/ 57 w 93"/>
                      <a:gd name="T39" fmla="*/ 3 h 49"/>
                      <a:gd name="T40" fmla="*/ 61 w 93"/>
                      <a:gd name="T41" fmla="*/ 2 h 49"/>
                      <a:gd name="T42" fmla="*/ 74 w 93"/>
                      <a:gd name="T43" fmla="*/ 4 h 49"/>
                      <a:gd name="T44" fmla="*/ 78 w 93"/>
                      <a:gd name="T45" fmla="*/ 5 h 49"/>
                      <a:gd name="T46" fmla="*/ 93 w 93"/>
                      <a:gd name="T47" fmla="*/ 12 h 49"/>
                      <a:gd name="T48" fmla="*/ 92 w 93"/>
                      <a:gd name="T49" fmla="*/ 9 h 49"/>
                      <a:gd name="T50" fmla="*/ 77 w 93"/>
                      <a:gd name="T51" fmla="*/ 3 h 49"/>
                      <a:gd name="T52" fmla="*/ 73 w 93"/>
                      <a:gd name="T53"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49">
                        <a:moveTo>
                          <a:pt x="73" y="2"/>
                        </a:moveTo>
                        <a:cubicBezTo>
                          <a:pt x="69" y="1"/>
                          <a:pt x="65" y="0"/>
                          <a:pt x="61" y="0"/>
                        </a:cubicBezTo>
                        <a:cubicBezTo>
                          <a:pt x="59" y="0"/>
                          <a:pt x="58" y="0"/>
                          <a:pt x="56" y="1"/>
                        </a:cubicBezTo>
                        <a:cubicBezTo>
                          <a:pt x="56" y="1"/>
                          <a:pt x="56" y="1"/>
                          <a:pt x="55" y="1"/>
                        </a:cubicBezTo>
                        <a:cubicBezTo>
                          <a:pt x="53" y="1"/>
                          <a:pt x="50" y="1"/>
                          <a:pt x="48" y="2"/>
                        </a:cubicBezTo>
                        <a:cubicBezTo>
                          <a:pt x="46" y="2"/>
                          <a:pt x="44" y="3"/>
                          <a:pt x="42" y="3"/>
                        </a:cubicBezTo>
                        <a:cubicBezTo>
                          <a:pt x="39" y="4"/>
                          <a:pt x="36" y="6"/>
                          <a:pt x="33" y="7"/>
                        </a:cubicBezTo>
                        <a:cubicBezTo>
                          <a:pt x="32" y="8"/>
                          <a:pt x="31" y="8"/>
                          <a:pt x="31" y="8"/>
                        </a:cubicBezTo>
                        <a:cubicBezTo>
                          <a:pt x="19" y="15"/>
                          <a:pt x="9" y="26"/>
                          <a:pt x="3" y="39"/>
                        </a:cubicBezTo>
                        <a:cubicBezTo>
                          <a:pt x="3" y="39"/>
                          <a:pt x="2" y="40"/>
                          <a:pt x="2" y="41"/>
                        </a:cubicBezTo>
                        <a:cubicBezTo>
                          <a:pt x="1" y="43"/>
                          <a:pt x="0" y="45"/>
                          <a:pt x="0" y="47"/>
                        </a:cubicBezTo>
                        <a:cubicBezTo>
                          <a:pt x="0" y="48"/>
                          <a:pt x="1" y="48"/>
                          <a:pt x="1" y="49"/>
                        </a:cubicBezTo>
                        <a:cubicBezTo>
                          <a:pt x="2" y="47"/>
                          <a:pt x="3" y="45"/>
                          <a:pt x="4" y="42"/>
                        </a:cubicBezTo>
                        <a:cubicBezTo>
                          <a:pt x="4" y="41"/>
                          <a:pt x="4" y="41"/>
                          <a:pt x="5" y="40"/>
                        </a:cubicBezTo>
                        <a:cubicBezTo>
                          <a:pt x="10" y="27"/>
                          <a:pt x="20" y="16"/>
                          <a:pt x="32" y="10"/>
                        </a:cubicBezTo>
                        <a:cubicBezTo>
                          <a:pt x="32" y="10"/>
                          <a:pt x="33" y="9"/>
                          <a:pt x="34" y="9"/>
                        </a:cubicBezTo>
                        <a:cubicBezTo>
                          <a:pt x="36" y="8"/>
                          <a:pt x="38" y="7"/>
                          <a:pt x="39" y="6"/>
                        </a:cubicBezTo>
                        <a:cubicBezTo>
                          <a:pt x="41" y="6"/>
                          <a:pt x="43" y="5"/>
                          <a:pt x="45" y="5"/>
                        </a:cubicBezTo>
                        <a:cubicBezTo>
                          <a:pt x="49" y="4"/>
                          <a:pt x="52" y="3"/>
                          <a:pt x="56" y="3"/>
                        </a:cubicBezTo>
                        <a:cubicBezTo>
                          <a:pt x="56" y="3"/>
                          <a:pt x="56" y="3"/>
                          <a:pt x="57" y="3"/>
                        </a:cubicBezTo>
                        <a:cubicBezTo>
                          <a:pt x="58" y="3"/>
                          <a:pt x="59" y="2"/>
                          <a:pt x="61" y="2"/>
                        </a:cubicBezTo>
                        <a:cubicBezTo>
                          <a:pt x="65" y="2"/>
                          <a:pt x="70" y="3"/>
                          <a:pt x="74" y="4"/>
                        </a:cubicBezTo>
                        <a:cubicBezTo>
                          <a:pt x="76" y="4"/>
                          <a:pt x="77" y="5"/>
                          <a:pt x="78" y="5"/>
                        </a:cubicBezTo>
                        <a:cubicBezTo>
                          <a:pt x="83" y="7"/>
                          <a:pt x="88" y="9"/>
                          <a:pt x="93" y="12"/>
                        </a:cubicBezTo>
                        <a:cubicBezTo>
                          <a:pt x="93" y="11"/>
                          <a:pt x="92" y="10"/>
                          <a:pt x="92" y="9"/>
                        </a:cubicBezTo>
                        <a:cubicBezTo>
                          <a:pt x="87" y="6"/>
                          <a:pt x="82" y="4"/>
                          <a:pt x="77" y="3"/>
                        </a:cubicBezTo>
                        <a:cubicBezTo>
                          <a:pt x="75" y="2"/>
                          <a:pt x="74" y="2"/>
                          <a:pt x="7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52" name="Freeform 144"/>
                  <p:cNvSpPr>
                    <a:spLocks noEditPoints="1"/>
                  </p:cNvSpPr>
                  <p:nvPr userDrawn="1"/>
                </p:nvSpPr>
                <p:spPr bwMode="auto">
                  <a:xfrm>
                    <a:off x="-2369641" y="151989"/>
                    <a:ext cx="668753" cy="668753"/>
                  </a:xfrm>
                  <a:custGeom>
                    <a:avLst/>
                    <a:gdLst>
                      <a:gd name="T0" fmla="*/ 85 w 116"/>
                      <a:gd name="T1" fmla="*/ 7 h 115"/>
                      <a:gd name="T2" fmla="*/ 57 w 116"/>
                      <a:gd name="T3" fmla="*/ 0 h 115"/>
                      <a:gd name="T4" fmla="*/ 51 w 116"/>
                      <a:gd name="T5" fmla="*/ 0 h 115"/>
                      <a:gd name="T6" fmla="*/ 37 w 116"/>
                      <a:gd name="T7" fmla="*/ 4 h 115"/>
                      <a:gd name="T8" fmla="*/ 5 w 116"/>
                      <a:gd name="T9" fmla="*/ 34 h 115"/>
                      <a:gd name="T10" fmla="*/ 0 w 116"/>
                      <a:gd name="T11" fmla="*/ 57 h 115"/>
                      <a:gd name="T12" fmla="*/ 0 w 116"/>
                      <a:gd name="T13" fmla="*/ 62 h 115"/>
                      <a:gd name="T14" fmla="*/ 14 w 116"/>
                      <a:gd name="T15" fmla="*/ 96 h 115"/>
                      <a:gd name="T16" fmla="*/ 46 w 116"/>
                      <a:gd name="T17" fmla="*/ 114 h 115"/>
                      <a:gd name="T18" fmla="*/ 50 w 116"/>
                      <a:gd name="T19" fmla="*/ 115 h 115"/>
                      <a:gd name="T20" fmla="*/ 89 w 116"/>
                      <a:gd name="T21" fmla="*/ 106 h 115"/>
                      <a:gd name="T22" fmla="*/ 103 w 116"/>
                      <a:gd name="T23" fmla="*/ 94 h 115"/>
                      <a:gd name="T24" fmla="*/ 113 w 116"/>
                      <a:gd name="T25" fmla="*/ 75 h 115"/>
                      <a:gd name="T26" fmla="*/ 116 w 116"/>
                      <a:gd name="T27" fmla="*/ 58 h 115"/>
                      <a:gd name="T28" fmla="*/ 115 w 116"/>
                      <a:gd name="T29" fmla="*/ 52 h 115"/>
                      <a:gd name="T30" fmla="*/ 104 w 116"/>
                      <a:gd name="T31" fmla="*/ 23 h 115"/>
                      <a:gd name="T32" fmla="*/ 107 w 116"/>
                      <a:gd name="T33" fmla="*/ 46 h 115"/>
                      <a:gd name="T34" fmla="*/ 109 w 116"/>
                      <a:gd name="T35" fmla="*/ 58 h 115"/>
                      <a:gd name="T36" fmla="*/ 105 w 116"/>
                      <a:gd name="T37" fmla="*/ 76 h 115"/>
                      <a:gd name="T38" fmla="*/ 94 w 116"/>
                      <a:gd name="T39" fmla="*/ 93 h 115"/>
                      <a:gd name="T40" fmla="*/ 58 w 116"/>
                      <a:gd name="T41" fmla="*/ 108 h 115"/>
                      <a:gd name="T42" fmla="*/ 54 w 116"/>
                      <a:gd name="T43" fmla="*/ 108 h 115"/>
                      <a:gd name="T44" fmla="*/ 40 w 116"/>
                      <a:gd name="T45" fmla="*/ 105 h 115"/>
                      <a:gd name="T46" fmla="*/ 15 w 116"/>
                      <a:gd name="T47" fmla="*/ 84 h 115"/>
                      <a:gd name="T48" fmla="*/ 8 w 116"/>
                      <a:gd name="T49" fmla="*/ 67 h 115"/>
                      <a:gd name="T50" fmla="*/ 11 w 116"/>
                      <a:gd name="T51" fmla="*/ 38 h 115"/>
                      <a:gd name="T52" fmla="*/ 35 w 116"/>
                      <a:gd name="T53" fmla="*/ 12 h 115"/>
                      <a:gd name="T54" fmla="*/ 58 w 116"/>
                      <a:gd name="T55" fmla="*/ 7 h 115"/>
                      <a:gd name="T56" fmla="*/ 60 w 116"/>
                      <a:gd name="T57" fmla="*/ 7 h 115"/>
                      <a:gd name="T58" fmla="*/ 64 w 116"/>
                      <a:gd name="T59" fmla="*/ 7 h 115"/>
                      <a:gd name="T60" fmla="*/ 83 w 116"/>
                      <a:gd name="T61" fmla="*/ 14 h 115"/>
                      <a:gd name="T62" fmla="*/ 97 w 116"/>
                      <a:gd name="T63" fmla="*/ 2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6" h="115">
                        <a:moveTo>
                          <a:pt x="87" y="8"/>
                        </a:moveTo>
                        <a:cubicBezTo>
                          <a:pt x="87" y="7"/>
                          <a:pt x="86" y="7"/>
                          <a:pt x="85" y="7"/>
                        </a:cubicBezTo>
                        <a:cubicBezTo>
                          <a:pt x="77" y="2"/>
                          <a:pt x="68" y="0"/>
                          <a:pt x="58" y="0"/>
                        </a:cubicBezTo>
                        <a:cubicBezTo>
                          <a:pt x="57" y="0"/>
                          <a:pt x="57" y="0"/>
                          <a:pt x="57" y="0"/>
                        </a:cubicBezTo>
                        <a:cubicBezTo>
                          <a:pt x="56" y="0"/>
                          <a:pt x="56" y="0"/>
                          <a:pt x="55" y="0"/>
                        </a:cubicBezTo>
                        <a:cubicBezTo>
                          <a:pt x="54" y="0"/>
                          <a:pt x="53" y="0"/>
                          <a:pt x="51" y="0"/>
                        </a:cubicBezTo>
                        <a:cubicBezTo>
                          <a:pt x="50" y="0"/>
                          <a:pt x="48" y="0"/>
                          <a:pt x="46" y="1"/>
                        </a:cubicBezTo>
                        <a:cubicBezTo>
                          <a:pt x="43" y="1"/>
                          <a:pt x="40" y="2"/>
                          <a:pt x="37" y="4"/>
                        </a:cubicBezTo>
                        <a:cubicBezTo>
                          <a:pt x="36" y="4"/>
                          <a:pt x="36" y="4"/>
                          <a:pt x="35" y="4"/>
                        </a:cubicBezTo>
                        <a:cubicBezTo>
                          <a:pt x="22" y="10"/>
                          <a:pt x="11" y="21"/>
                          <a:pt x="5" y="34"/>
                        </a:cubicBezTo>
                        <a:cubicBezTo>
                          <a:pt x="5" y="35"/>
                          <a:pt x="4" y="35"/>
                          <a:pt x="4" y="36"/>
                        </a:cubicBezTo>
                        <a:cubicBezTo>
                          <a:pt x="2" y="42"/>
                          <a:pt x="0" y="49"/>
                          <a:pt x="0" y="57"/>
                        </a:cubicBezTo>
                        <a:cubicBezTo>
                          <a:pt x="0" y="57"/>
                          <a:pt x="0" y="57"/>
                          <a:pt x="0" y="58"/>
                        </a:cubicBezTo>
                        <a:cubicBezTo>
                          <a:pt x="0" y="59"/>
                          <a:pt x="0" y="60"/>
                          <a:pt x="0" y="62"/>
                        </a:cubicBezTo>
                        <a:cubicBezTo>
                          <a:pt x="1" y="74"/>
                          <a:pt x="6" y="85"/>
                          <a:pt x="13" y="93"/>
                        </a:cubicBezTo>
                        <a:cubicBezTo>
                          <a:pt x="13" y="94"/>
                          <a:pt x="14" y="95"/>
                          <a:pt x="14" y="96"/>
                        </a:cubicBezTo>
                        <a:cubicBezTo>
                          <a:pt x="22" y="104"/>
                          <a:pt x="31" y="110"/>
                          <a:pt x="42" y="113"/>
                        </a:cubicBezTo>
                        <a:cubicBezTo>
                          <a:pt x="44" y="114"/>
                          <a:pt x="45" y="114"/>
                          <a:pt x="46" y="114"/>
                        </a:cubicBezTo>
                        <a:cubicBezTo>
                          <a:pt x="47" y="114"/>
                          <a:pt x="48" y="114"/>
                          <a:pt x="48" y="115"/>
                        </a:cubicBezTo>
                        <a:cubicBezTo>
                          <a:pt x="49" y="115"/>
                          <a:pt x="49" y="115"/>
                          <a:pt x="50" y="115"/>
                        </a:cubicBezTo>
                        <a:cubicBezTo>
                          <a:pt x="52" y="115"/>
                          <a:pt x="55" y="115"/>
                          <a:pt x="58" y="115"/>
                        </a:cubicBezTo>
                        <a:cubicBezTo>
                          <a:pt x="69" y="115"/>
                          <a:pt x="80" y="112"/>
                          <a:pt x="89" y="106"/>
                        </a:cubicBezTo>
                        <a:cubicBezTo>
                          <a:pt x="90" y="106"/>
                          <a:pt x="92" y="104"/>
                          <a:pt x="93" y="103"/>
                        </a:cubicBezTo>
                        <a:cubicBezTo>
                          <a:pt x="97" y="101"/>
                          <a:pt x="100" y="97"/>
                          <a:pt x="103" y="94"/>
                        </a:cubicBezTo>
                        <a:cubicBezTo>
                          <a:pt x="104" y="92"/>
                          <a:pt x="105" y="91"/>
                          <a:pt x="106" y="90"/>
                        </a:cubicBezTo>
                        <a:cubicBezTo>
                          <a:pt x="109" y="86"/>
                          <a:pt x="111" y="81"/>
                          <a:pt x="113" y="75"/>
                        </a:cubicBezTo>
                        <a:cubicBezTo>
                          <a:pt x="113" y="74"/>
                          <a:pt x="113" y="74"/>
                          <a:pt x="114" y="73"/>
                        </a:cubicBezTo>
                        <a:cubicBezTo>
                          <a:pt x="115" y="68"/>
                          <a:pt x="116" y="63"/>
                          <a:pt x="116" y="58"/>
                        </a:cubicBezTo>
                        <a:cubicBezTo>
                          <a:pt x="116" y="57"/>
                          <a:pt x="116" y="56"/>
                          <a:pt x="116" y="55"/>
                        </a:cubicBezTo>
                        <a:cubicBezTo>
                          <a:pt x="116" y="54"/>
                          <a:pt x="116" y="53"/>
                          <a:pt x="115" y="52"/>
                        </a:cubicBezTo>
                        <a:cubicBezTo>
                          <a:pt x="115" y="43"/>
                          <a:pt x="112" y="34"/>
                          <a:pt x="107" y="27"/>
                        </a:cubicBezTo>
                        <a:cubicBezTo>
                          <a:pt x="106" y="25"/>
                          <a:pt x="105" y="24"/>
                          <a:pt x="104" y="23"/>
                        </a:cubicBezTo>
                        <a:cubicBezTo>
                          <a:pt x="100" y="17"/>
                          <a:pt x="94" y="12"/>
                          <a:pt x="87" y="8"/>
                        </a:cubicBezTo>
                        <a:close/>
                        <a:moveTo>
                          <a:pt x="107" y="46"/>
                        </a:moveTo>
                        <a:cubicBezTo>
                          <a:pt x="107" y="47"/>
                          <a:pt x="108" y="48"/>
                          <a:pt x="108" y="49"/>
                        </a:cubicBezTo>
                        <a:cubicBezTo>
                          <a:pt x="108" y="52"/>
                          <a:pt x="109" y="55"/>
                          <a:pt x="109" y="58"/>
                        </a:cubicBezTo>
                        <a:cubicBezTo>
                          <a:pt x="109" y="63"/>
                          <a:pt x="108" y="69"/>
                          <a:pt x="106" y="74"/>
                        </a:cubicBezTo>
                        <a:cubicBezTo>
                          <a:pt x="106" y="74"/>
                          <a:pt x="105" y="75"/>
                          <a:pt x="105" y="76"/>
                        </a:cubicBezTo>
                        <a:cubicBezTo>
                          <a:pt x="103" y="80"/>
                          <a:pt x="101" y="85"/>
                          <a:pt x="98" y="89"/>
                        </a:cubicBezTo>
                        <a:cubicBezTo>
                          <a:pt x="97" y="90"/>
                          <a:pt x="95" y="92"/>
                          <a:pt x="94" y="93"/>
                        </a:cubicBezTo>
                        <a:cubicBezTo>
                          <a:pt x="93" y="94"/>
                          <a:pt x="92" y="95"/>
                          <a:pt x="91" y="96"/>
                        </a:cubicBezTo>
                        <a:cubicBezTo>
                          <a:pt x="82" y="104"/>
                          <a:pt x="70" y="108"/>
                          <a:pt x="58" y="108"/>
                        </a:cubicBezTo>
                        <a:cubicBezTo>
                          <a:pt x="57" y="108"/>
                          <a:pt x="56" y="108"/>
                          <a:pt x="55" y="108"/>
                        </a:cubicBezTo>
                        <a:cubicBezTo>
                          <a:pt x="55" y="108"/>
                          <a:pt x="54" y="108"/>
                          <a:pt x="54" y="108"/>
                        </a:cubicBezTo>
                        <a:cubicBezTo>
                          <a:pt x="50" y="108"/>
                          <a:pt x="47" y="107"/>
                          <a:pt x="44" y="106"/>
                        </a:cubicBezTo>
                        <a:cubicBezTo>
                          <a:pt x="43" y="106"/>
                          <a:pt x="42" y="105"/>
                          <a:pt x="40" y="105"/>
                        </a:cubicBezTo>
                        <a:cubicBezTo>
                          <a:pt x="31" y="101"/>
                          <a:pt x="22" y="95"/>
                          <a:pt x="16" y="86"/>
                        </a:cubicBezTo>
                        <a:cubicBezTo>
                          <a:pt x="16" y="85"/>
                          <a:pt x="15" y="85"/>
                          <a:pt x="15" y="84"/>
                        </a:cubicBezTo>
                        <a:cubicBezTo>
                          <a:pt x="12" y="80"/>
                          <a:pt x="11" y="76"/>
                          <a:pt x="9" y="72"/>
                        </a:cubicBezTo>
                        <a:cubicBezTo>
                          <a:pt x="9" y="70"/>
                          <a:pt x="8" y="68"/>
                          <a:pt x="8" y="67"/>
                        </a:cubicBezTo>
                        <a:cubicBezTo>
                          <a:pt x="8" y="64"/>
                          <a:pt x="7" y="61"/>
                          <a:pt x="7" y="58"/>
                        </a:cubicBezTo>
                        <a:cubicBezTo>
                          <a:pt x="7" y="50"/>
                          <a:pt x="9" y="44"/>
                          <a:pt x="11" y="38"/>
                        </a:cubicBezTo>
                        <a:cubicBezTo>
                          <a:pt x="12" y="37"/>
                          <a:pt x="12" y="36"/>
                          <a:pt x="12" y="36"/>
                        </a:cubicBezTo>
                        <a:cubicBezTo>
                          <a:pt x="17" y="26"/>
                          <a:pt x="25" y="17"/>
                          <a:pt x="35" y="12"/>
                        </a:cubicBezTo>
                        <a:cubicBezTo>
                          <a:pt x="36" y="12"/>
                          <a:pt x="36" y="12"/>
                          <a:pt x="37" y="11"/>
                        </a:cubicBezTo>
                        <a:cubicBezTo>
                          <a:pt x="43" y="9"/>
                          <a:pt x="50" y="7"/>
                          <a:pt x="58" y="7"/>
                        </a:cubicBezTo>
                        <a:cubicBezTo>
                          <a:pt x="58" y="7"/>
                          <a:pt x="58" y="7"/>
                          <a:pt x="58" y="7"/>
                        </a:cubicBezTo>
                        <a:cubicBezTo>
                          <a:pt x="59" y="7"/>
                          <a:pt x="59" y="7"/>
                          <a:pt x="60" y="7"/>
                        </a:cubicBezTo>
                        <a:cubicBezTo>
                          <a:pt x="60" y="7"/>
                          <a:pt x="61" y="7"/>
                          <a:pt x="61" y="7"/>
                        </a:cubicBezTo>
                        <a:cubicBezTo>
                          <a:pt x="62" y="7"/>
                          <a:pt x="63" y="7"/>
                          <a:pt x="64" y="7"/>
                        </a:cubicBezTo>
                        <a:cubicBezTo>
                          <a:pt x="70" y="8"/>
                          <a:pt x="76" y="10"/>
                          <a:pt x="81" y="13"/>
                        </a:cubicBezTo>
                        <a:cubicBezTo>
                          <a:pt x="82" y="13"/>
                          <a:pt x="82" y="13"/>
                          <a:pt x="83" y="14"/>
                        </a:cubicBezTo>
                        <a:cubicBezTo>
                          <a:pt x="87" y="16"/>
                          <a:pt x="91" y="19"/>
                          <a:pt x="94" y="22"/>
                        </a:cubicBezTo>
                        <a:cubicBezTo>
                          <a:pt x="95" y="23"/>
                          <a:pt x="96" y="24"/>
                          <a:pt x="97" y="25"/>
                        </a:cubicBezTo>
                        <a:cubicBezTo>
                          <a:pt x="102" y="31"/>
                          <a:pt x="105" y="38"/>
                          <a:pt x="107" y="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grpSp>
            <p:sp>
              <p:nvSpPr>
                <p:cNvPr id="19" name="Subtitle 2"/>
                <p:cNvSpPr txBox="1">
                  <a:spLocks/>
                </p:cNvSpPr>
                <p:nvPr userDrawn="1"/>
              </p:nvSpPr>
              <p:spPr>
                <a:xfrm>
                  <a:off x="1214906" y="3776542"/>
                  <a:ext cx="3498820" cy="487048"/>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1400" dirty="0">
                      <a:solidFill>
                        <a:schemeClr val="bg1"/>
                      </a:solidFill>
                      <a:latin typeface="+mj-lt"/>
                    </a:rPr>
                    <a:t>www.velrada.com</a:t>
                  </a:r>
                </a:p>
              </p:txBody>
            </p:sp>
          </p:grpSp>
          <p:grpSp>
            <p:nvGrpSpPr>
              <p:cNvPr id="58" name="Group 57"/>
              <p:cNvGrpSpPr/>
              <p:nvPr userDrawn="1"/>
            </p:nvGrpSpPr>
            <p:grpSpPr>
              <a:xfrm>
                <a:off x="6325436" y="5430098"/>
                <a:ext cx="3296054" cy="519233"/>
                <a:chOff x="4110482" y="3631314"/>
                <a:chExt cx="4794097" cy="755222"/>
              </a:xfrm>
            </p:grpSpPr>
            <p:grpSp>
              <p:nvGrpSpPr>
                <p:cNvPr id="59" name="Group 58"/>
                <p:cNvGrpSpPr/>
                <p:nvPr userDrawn="1"/>
              </p:nvGrpSpPr>
              <p:grpSpPr>
                <a:xfrm>
                  <a:off x="4110482" y="3631314"/>
                  <a:ext cx="755222" cy="755222"/>
                  <a:chOff x="-2529227" y="2523024"/>
                  <a:chExt cx="980334" cy="980334"/>
                </a:xfrm>
              </p:grpSpPr>
              <p:sp>
                <p:nvSpPr>
                  <p:cNvPr id="61" name="Oval 101"/>
                  <p:cNvSpPr>
                    <a:spLocks noChangeArrowheads="1"/>
                  </p:cNvSpPr>
                  <p:nvPr userDrawn="1"/>
                </p:nvSpPr>
                <p:spPr bwMode="auto">
                  <a:xfrm>
                    <a:off x="-2529227" y="2523024"/>
                    <a:ext cx="980334" cy="98033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62" name="Freeform 105"/>
                  <p:cNvSpPr>
                    <a:spLocks noEditPoints="1"/>
                  </p:cNvSpPr>
                  <p:nvPr userDrawn="1"/>
                </p:nvSpPr>
                <p:spPr bwMode="auto">
                  <a:xfrm>
                    <a:off x="-2308845" y="2849799"/>
                    <a:ext cx="531963" cy="334377"/>
                  </a:xfrm>
                  <a:custGeom>
                    <a:avLst/>
                    <a:gdLst>
                      <a:gd name="T0" fmla="*/ 35 w 70"/>
                      <a:gd name="T1" fmla="*/ 35 h 44"/>
                      <a:gd name="T2" fmla="*/ 0 w 70"/>
                      <a:gd name="T3" fmla="*/ 5 h 44"/>
                      <a:gd name="T4" fmla="*/ 0 w 70"/>
                      <a:gd name="T5" fmla="*/ 44 h 44"/>
                      <a:gd name="T6" fmla="*/ 70 w 70"/>
                      <a:gd name="T7" fmla="*/ 44 h 44"/>
                      <a:gd name="T8" fmla="*/ 70 w 70"/>
                      <a:gd name="T9" fmla="*/ 5 h 44"/>
                      <a:gd name="T10" fmla="*/ 35 w 70"/>
                      <a:gd name="T11" fmla="*/ 35 h 44"/>
                      <a:gd name="T12" fmla="*/ 70 w 70"/>
                      <a:gd name="T13" fmla="*/ 0 h 44"/>
                      <a:gd name="T14" fmla="*/ 1 w 70"/>
                      <a:gd name="T15" fmla="*/ 0 h 44"/>
                      <a:gd name="T16" fmla="*/ 35 w 70"/>
                      <a:gd name="T17" fmla="*/ 29 h 44"/>
                      <a:gd name="T18" fmla="*/ 70 w 70"/>
                      <a:gd name="T1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44">
                        <a:moveTo>
                          <a:pt x="35" y="35"/>
                        </a:moveTo>
                        <a:lnTo>
                          <a:pt x="0" y="5"/>
                        </a:lnTo>
                        <a:lnTo>
                          <a:pt x="0" y="44"/>
                        </a:lnTo>
                        <a:lnTo>
                          <a:pt x="70" y="44"/>
                        </a:lnTo>
                        <a:lnTo>
                          <a:pt x="70" y="5"/>
                        </a:lnTo>
                        <a:lnTo>
                          <a:pt x="35" y="35"/>
                        </a:lnTo>
                        <a:close/>
                        <a:moveTo>
                          <a:pt x="70" y="0"/>
                        </a:moveTo>
                        <a:lnTo>
                          <a:pt x="1" y="0"/>
                        </a:lnTo>
                        <a:lnTo>
                          <a:pt x="35" y="29"/>
                        </a:lnTo>
                        <a:lnTo>
                          <a:pt x="7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grpSp>
            <p:sp>
              <p:nvSpPr>
                <p:cNvPr id="60" name="Subtitle 2"/>
                <p:cNvSpPr txBox="1">
                  <a:spLocks/>
                </p:cNvSpPr>
                <p:nvPr userDrawn="1"/>
              </p:nvSpPr>
              <p:spPr>
                <a:xfrm>
                  <a:off x="4943607" y="3776542"/>
                  <a:ext cx="3960972" cy="487048"/>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1400" dirty="0">
                      <a:solidFill>
                        <a:schemeClr val="bg1"/>
                      </a:solidFill>
                      <a:latin typeface="+mj-lt"/>
                    </a:rPr>
                    <a:t>info@velrada.com</a:t>
                  </a:r>
                </a:p>
              </p:txBody>
            </p:sp>
          </p:grpSp>
          <p:grpSp>
            <p:nvGrpSpPr>
              <p:cNvPr id="8" name="Group 7"/>
              <p:cNvGrpSpPr/>
              <p:nvPr userDrawn="1"/>
            </p:nvGrpSpPr>
            <p:grpSpPr>
              <a:xfrm>
                <a:off x="8309747" y="4791180"/>
                <a:ext cx="5443143" cy="1158151"/>
                <a:chOff x="8512947" y="4791180"/>
                <a:chExt cx="5443143" cy="1158151"/>
              </a:xfrm>
            </p:grpSpPr>
            <p:grpSp>
              <p:nvGrpSpPr>
                <p:cNvPr id="53" name="Group 52"/>
                <p:cNvGrpSpPr/>
                <p:nvPr userDrawn="1"/>
              </p:nvGrpSpPr>
              <p:grpSpPr>
                <a:xfrm>
                  <a:off x="8512947" y="4791180"/>
                  <a:ext cx="2442241" cy="519233"/>
                  <a:chOff x="391261" y="4603148"/>
                  <a:chExt cx="3552229" cy="755222"/>
                </a:xfrm>
              </p:grpSpPr>
              <p:grpSp>
                <p:nvGrpSpPr>
                  <p:cNvPr id="54" name="Group 53"/>
                  <p:cNvGrpSpPr/>
                  <p:nvPr userDrawn="1"/>
                </p:nvGrpSpPr>
                <p:grpSpPr>
                  <a:xfrm>
                    <a:off x="391261" y="4603148"/>
                    <a:ext cx="755222" cy="755222"/>
                    <a:chOff x="-2529227" y="1261512"/>
                    <a:chExt cx="980334" cy="980334"/>
                  </a:xfrm>
                </p:grpSpPr>
                <p:sp>
                  <p:nvSpPr>
                    <p:cNvPr id="56" name="Oval 103"/>
                    <p:cNvSpPr>
                      <a:spLocks noChangeArrowheads="1"/>
                    </p:cNvSpPr>
                    <p:nvPr userDrawn="1"/>
                  </p:nvSpPr>
                  <p:spPr bwMode="auto">
                    <a:xfrm>
                      <a:off x="-2529227" y="1261512"/>
                      <a:ext cx="980334" cy="98033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57" name="Freeform 104"/>
                    <p:cNvSpPr>
                      <a:spLocks/>
                    </p:cNvSpPr>
                    <p:nvPr userDrawn="1"/>
                  </p:nvSpPr>
                  <p:spPr bwMode="auto">
                    <a:xfrm>
                      <a:off x="-2232850" y="1459098"/>
                      <a:ext cx="410371" cy="577560"/>
                    </a:xfrm>
                    <a:custGeom>
                      <a:avLst/>
                      <a:gdLst>
                        <a:gd name="T0" fmla="*/ 0 w 71"/>
                        <a:gd name="T1" fmla="*/ 24 h 100"/>
                        <a:gd name="T2" fmla="*/ 41 w 71"/>
                        <a:gd name="T3" fmla="*/ 95 h 100"/>
                        <a:gd name="T4" fmla="*/ 71 w 71"/>
                        <a:gd name="T5" fmla="*/ 82 h 100"/>
                        <a:gd name="T6" fmla="*/ 54 w 71"/>
                        <a:gd name="T7" fmla="*/ 66 h 100"/>
                        <a:gd name="T8" fmla="*/ 40 w 71"/>
                        <a:gd name="T9" fmla="*/ 73 h 100"/>
                        <a:gd name="T10" fmla="*/ 25 w 71"/>
                        <a:gd name="T11" fmla="*/ 55 h 100"/>
                        <a:gd name="T12" fmla="*/ 19 w 71"/>
                        <a:gd name="T13" fmla="*/ 33 h 100"/>
                        <a:gd name="T14" fmla="*/ 31 w 71"/>
                        <a:gd name="T15" fmla="*/ 26 h 100"/>
                        <a:gd name="T16" fmla="*/ 20 w 71"/>
                        <a:gd name="T17" fmla="*/ 0 h 100"/>
                        <a:gd name="T18" fmla="*/ 0 w 71"/>
                        <a:gd name="T19" fmla="*/ 2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100">
                          <a:moveTo>
                            <a:pt x="0" y="24"/>
                          </a:moveTo>
                          <a:cubicBezTo>
                            <a:pt x="2" y="72"/>
                            <a:pt x="36" y="93"/>
                            <a:pt x="41" y="95"/>
                          </a:cubicBezTo>
                          <a:cubicBezTo>
                            <a:pt x="54" y="100"/>
                            <a:pt x="66" y="95"/>
                            <a:pt x="71" y="82"/>
                          </a:cubicBezTo>
                          <a:cubicBezTo>
                            <a:pt x="71" y="82"/>
                            <a:pt x="60" y="70"/>
                            <a:pt x="54" y="66"/>
                          </a:cubicBezTo>
                          <a:cubicBezTo>
                            <a:pt x="40" y="73"/>
                            <a:pt x="40" y="73"/>
                            <a:pt x="40" y="73"/>
                          </a:cubicBezTo>
                          <a:cubicBezTo>
                            <a:pt x="40" y="73"/>
                            <a:pt x="34" y="72"/>
                            <a:pt x="25" y="55"/>
                          </a:cubicBezTo>
                          <a:cubicBezTo>
                            <a:pt x="17" y="39"/>
                            <a:pt x="19" y="33"/>
                            <a:pt x="19" y="33"/>
                          </a:cubicBezTo>
                          <a:cubicBezTo>
                            <a:pt x="31" y="26"/>
                            <a:pt x="31" y="26"/>
                            <a:pt x="31" y="26"/>
                          </a:cubicBezTo>
                          <a:cubicBezTo>
                            <a:pt x="32" y="17"/>
                            <a:pt x="31" y="0"/>
                            <a:pt x="20" y="0"/>
                          </a:cubicBezTo>
                          <a:cubicBezTo>
                            <a:pt x="8" y="0"/>
                            <a:pt x="0" y="14"/>
                            <a:pt x="0"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grpSp>
              <p:sp>
                <p:nvSpPr>
                  <p:cNvPr id="55" name="Subtitle 2"/>
                  <p:cNvSpPr txBox="1">
                    <a:spLocks/>
                  </p:cNvSpPr>
                  <p:nvPr userDrawn="1"/>
                </p:nvSpPr>
                <p:spPr>
                  <a:xfrm>
                    <a:off x="1172685" y="4740629"/>
                    <a:ext cx="2770805" cy="487048"/>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1400" dirty="0">
                        <a:solidFill>
                          <a:schemeClr val="bg1"/>
                        </a:solidFill>
                        <a:latin typeface="+mj-lt"/>
                      </a:rPr>
                      <a:t>1300 835 723</a:t>
                    </a:r>
                  </a:p>
                </p:txBody>
              </p:sp>
            </p:grpSp>
            <p:grpSp>
              <p:nvGrpSpPr>
                <p:cNvPr id="73" name="Group 72"/>
                <p:cNvGrpSpPr/>
                <p:nvPr userDrawn="1"/>
              </p:nvGrpSpPr>
              <p:grpSpPr>
                <a:xfrm>
                  <a:off x="8805047" y="5430098"/>
                  <a:ext cx="5151043" cy="519233"/>
                  <a:chOff x="7829703" y="4603148"/>
                  <a:chExt cx="7492171" cy="755222"/>
                </a:xfrm>
              </p:grpSpPr>
              <p:grpSp>
                <p:nvGrpSpPr>
                  <p:cNvPr id="74" name="Group 73"/>
                  <p:cNvGrpSpPr/>
                  <p:nvPr userDrawn="1"/>
                </p:nvGrpSpPr>
                <p:grpSpPr>
                  <a:xfrm>
                    <a:off x="7829703" y="4603148"/>
                    <a:ext cx="755222" cy="755222"/>
                    <a:chOff x="-2529227" y="6322759"/>
                    <a:chExt cx="980334" cy="980334"/>
                  </a:xfrm>
                </p:grpSpPr>
                <p:sp>
                  <p:nvSpPr>
                    <p:cNvPr id="76" name="Oval 110"/>
                    <p:cNvSpPr>
                      <a:spLocks noChangeArrowheads="1"/>
                    </p:cNvSpPr>
                    <p:nvPr userDrawn="1"/>
                  </p:nvSpPr>
                  <p:spPr bwMode="auto">
                    <a:xfrm>
                      <a:off x="-2529227" y="6322759"/>
                      <a:ext cx="980334" cy="98033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grpSp>
                  <p:nvGrpSpPr>
                    <p:cNvPr id="77" name="Group 76"/>
                    <p:cNvGrpSpPr/>
                    <p:nvPr userDrawn="1"/>
                  </p:nvGrpSpPr>
                  <p:grpSpPr>
                    <a:xfrm>
                      <a:off x="-2232850" y="6550743"/>
                      <a:ext cx="387575" cy="524366"/>
                      <a:chOff x="-2232850" y="6550743"/>
                      <a:chExt cx="387575" cy="524366"/>
                    </a:xfrm>
                  </p:grpSpPr>
                  <p:sp>
                    <p:nvSpPr>
                      <p:cNvPr id="78" name="Freeform 111"/>
                      <p:cNvSpPr>
                        <a:spLocks/>
                      </p:cNvSpPr>
                      <p:nvPr userDrawn="1"/>
                    </p:nvSpPr>
                    <p:spPr bwMode="auto">
                      <a:xfrm>
                        <a:off x="-2232850" y="6550743"/>
                        <a:ext cx="387575" cy="524366"/>
                      </a:xfrm>
                      <a:custGeom>
                        <a:avLst/>
                        <a:gdLst>
                          <a:gd name="T0" fmla="*/ 34 w 68"/>
                          <a:gd name="T1" fmla="*/ 90 h 90"/>
                          <a:gd name="T2" fmla="*/ 66 w 68"/>
                          <a:gd name="T3" fmla="*/ 42 h 90"/>
                          <a:gd name="T4" fmla="*/ 68 w 68"/>
                          <a:gd name="T5" fmla="*/ 35 h 90"/>
                          <a:gd name="T6" fmla="*/ 68 w 68"/>
                          <a:gd name="T7" fmla="*/ 32 h 90"/>
                          <a:gd name="T8" fmla="*/ 34 w 68"/>
                          <a:gd name="T9" fmla="*/ 0 h 90"/>
                          <a:gd name="T10" fmla="*/ 0 w 68"/>
                          <a:gd name="T11" fmla="*/ 32 h 90"/>
                          <a:gd name="T12" fmla="*/ 1 w 68"/>
                          <a:gd name="T13" fmla="*/ 36 h 90"/>
                          <a:gd name="T14" fmla="*/ 1 w 68"/>
                          <a:gd name="T15" fmla="*/ 36 h 90"/>
                          <a:gd name="T16" fmla="*/ 34 w 68"/>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90">
                            <a:moveTo>
                              <a:pt x="34" y="90"/>
                            </a:moveTo>
                            <a:cubicBezTo>
                              <a:pt x="56" y="70"/>
                              <a:pt x="64" y="52"/>
                              <a:pt x="66" y="42"/>
                            </a:cubicBezTo>
                            <a:cubicBezTo>
                              <a:pt x="67" y="40"/>
                              <a:pt x="68" y="37"/>
                              <a:pt x="68" y="35"/>
                            </a:cubicBezTo>
                            <a:cubicBezTo>
                              <a:pt x="68" y="33"/>
                              <a:pt x="68" y="32"/>
                              <a:pt x="68" y="32"/>
                            </a:cubicBezTo>
                            <a:cubicBezTo>
                              <a:pt x="68" y="15"/>
                              <a:pt x="53" y="0"/>
                              <a:pt x="34" y="0"/>
                            </a:cubicBezTo>
                            <a:cubicBezTo>
                              <a:pt x="16" y="0"/>
                              <a:pt x="0" y="15"/>
                              <a:pt x="0" y="32"/>
                            </a:cubicBezTo>
                            <a:cubicBezTo>
                              <a:pt x="0" y="33"/>
                              <a:pt x="1" y="35"/>
                              <a:pt x="1" y="36"/>
                            </a:cubicBezTo>
                            <a:cubicBezTo>
                              <a:pt x="1" y="36"/>
                              <a:pt x="1" y="36"/>
                              <a:pt x="1" y="36"/>
                            </a:cubicBezTo>
                            <a:cubicBezTo>
                              <a:pt x="3" y="62"/>
                              <a:pt x="34" y="90"/>
                              <a:pt x="34" y="9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79" name="Oval 112"/>
                      <p:cNvSpPr>
                        <a:spLocks noChangeArrowheads="1"/>
                      </p:cNvSpPr>
                      <p:nvPr userDrawn="1"/>
                    </p:nvSpPr>
                    <p:spPr bwMode="auto">
                      <a:xfrm>
                        <a:off x="-2164452" y="6611539"/>
                        <a:ext cx="250785" cy="250785"/>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grpSp>
              </p:grpSp>
              <p:sp>
                <p:nvSpPr>
                  <p:cNvPr id="75" name="Subtitle 2"/>
                  <p:cNvSpPr txBox="1">
                    <a:spLocks/>
                  </p:cNvSpPr>
                  <p:nvPr userDrawn="1"/>
                </p:nvSpPr>
                <p:spPr>
                  <a:xfrm>
                    <a:off x="8662828" y="4740628"/>
                    <a:ext cx="6659046" cy="487048"/>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1400" dirty="0">
                        <a:solidFill>
                          <a:schemeClr val="bg1"/>
                        </a:solidFill>
                        <a:latin typeface="+mj-lt"/>
                      </a:rPr>
                      <a:t>Australia. New Zealand. Singapore.</a:t>
                    </a:r>
                  </a:p>
                </p:txBody>
              </p:sp>
            </p:grpSp>
          </p:grpSp>
        </p:grpSp>
        <p:sp>
          <p:nvSpPr>
            <p:cNvPr id="88" name="Title 1"/>
            <p:cNvSpPr txBox="1">
              <a:spLocks/>
            </p:cNvSpPr>
            <p:nvPr userDrawn="1"/>
          </p:nvSpPr>
          <p:spPr>
            <a:xfrm>
              <a:off x="5602100" y="3900114"/>
              <a:ext cx="9526624" cy="879910"/>
            </a:xfrm>
            <a:prstGeom prst="rect">
              <a:avLst/>
            </a:prstGeom>
          </p:spPr>
          <p:txBody>
            <a:bodyPr>
              <a:noAutofit/>
            </a:bodyPr>
            <a:lstStyle>
              <a:lvl1pPr algn="l" defTabSz="896214" rtl="0" eaLnBrk="1" latinLnBrk="0" hangingPunct="1">
                <a:spcBef>
                  <a:spcPct val="0"/>
                </a:spcBef>
                <a:buNone/>
                <a:defRPr sz="5000" kern="1200" baseline="0">
                  <a:solidFill>
                    <a:schemeClr val="tx1"/>
                  </a:solidFill>
                  <a:latin typeface="Segoe UI Light" pitchFamily="34" charset="0"/>
                  <a:ea typeface="+mj-ea"/>
                  <a:cs typeface="+mj-cs"/>
                </a:defRPr>
              </a:lvl1pPr>
            </a:lstStyle>
            <a:p>
              <a:r>
                <a:rPr lang="en-US" sz="4400" b="1" spc="-150" dirty="0">
                  <a:solidFill>
                    <a:schemeClr val="bg1"/>
                  </a:solidFill>
                  <a:latin typeface="+mn-lt"/>
                </a:rPr>
                <a:t>Make the leap.</a:t>
              </a:r>
            </a:p>
          </p:txBody>
        </p:sp>
      </p:grpSp>
    </p:spTree>
    <p:extLst>
      <p:ext uri="{BB962C8B-B14F-4D97-AF65-F5344CB8AC3E}">
        <p14:creationId xmlns:p14="http://schemas.microsoft.com/office/powerpoint/2010/main" val="4061817990"/>
      </p:ext>
    </p:extLst>
  </p:cSld>
  <p:clrMapOvr>
    <a:masterClrMapping/>
  </p:clrMapOvr>
  <p:transition spd="slow">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_&amp;_Subtitle_&amp;_Content">
    <p:spTree>
      <p:nvGrpSpPr>
        <p:cNvPr id="1" name=""/>
        <p:cNvGrpSpPr/>
        <p:nvPr/>
      </p:nvGrpSpPr>
      <p:grpSpPr>
        <a:xfrm>
          <a:off x="0" y="0"/>
          <a:ext cx="0" cy="0"/>
          <a:chOff x="0" y="0"/>
          <a:chExt cx="0" cy="0"/>
        </a:xfrm>
      </p:grpSpPr>
      <p:sp>
        <p:nvSpPr>
          <p:cNvPr id="5" name="Text Placeholder 2"/>
          <p:cNvSpPr>
            <a:spLocks noGrp="1"/>
          </p:cNvSpPr>
          <p:nvPr>
            <p:ph idx="11" hasCustomPrompt="1"/>
          </p:nvPr>
        </p:nvSpPr>
        <p:spPr>
          <a:xfrm>
            <a:off x="556939" y="1781056"/>
            <a:ext cx="11088962"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2568145075"/>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80" name="Group 79"/>
          <p:cNvGrpSpPr/>
          <p:nvPr userDrawn="1"/>
        </p:nvGrpSpPr>
        <p:grpSpPr>
          <a:xfrm>
            <a:off x="0" y="-3175"/>
            <a:ext cx="10673334" cy="6012089"/>
            <a:chOff x="0" y="-3175"/>
            <a:chExt cx="12192000" cy="6867525"/>
          </a:xfrm>
        </p:grpSpPr>
        <p:grpSp>
          <p:nvGrpSpPr>
            <p:cNvPr id="81" name="Group 80"/>
            <p:cNvGrpSpPr/>
            <p:nvPr userDrawn="1"/>
          </p:nvGrpSpPr>
          <p:grpSpPr>
            <a:xfrm>
              <a:off x="0" y="-3175"/>
              <a:ext cx="12192000" cy="6867525"/>
              <a:chOff x="0" y="-3175"/>
              <a:chExt cx="12192000" cy="6867525"/>
            </a:xfrm>
          </p:grpSpPr>
          <p:sp>
            <p:nvSpPr>
              <p:cNvPr id="83" name="AutoShape 58"/>
              <p:cNvSpPr>
                <a:spLocks noChangeAspect="1" noChangeArrowheads="1" noTextEdit="1"/>
              </p:cNvSpPr>
              <p:nvPr userDrawn="1"/>
            </p:nvSpPr>
            <p:spPr bwMode="auto">
              <a:xfrm>
                <a:off x="0" y="-3175"/>
                <a:ext cx="12192000" cy="68643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4" name="Freeform 60"/>
              <p:cNvSpPr>
                <a:spLocks/>
              </p:cNvSpPr>
              <p:nvPr userDrawn="1"/>
            </p:nvSpPr>
            <p:spPr bwMode="auto">
              <a:xfrm>
                <a:off x="3176" y="1"/>
                <a:ext cx="12185650" cy="6864349"/>
              </a:xfrm>
              <a:custGeom>
                <a:avLst/>
                <a:gdLst>
                  <a:gd name="T0" fmla="*/ 2620 w 7676"/>
                  <a:gd name="T1" fmla="*/ 0 h 4324"/>
                  <a:gd name="T2" fmla="*/ 3866 w 7676"/>
                  <a:gd name="T3" fmla="*/ 2987 h 4324"/>
                  <a:gd name="T4" fmla="*/ 0 w 7676"/>
                  <a:gd name="T5" fmla="*/ 2068 h 4324"/>
                  <a:gd name="T6" fmla="*/ 0 w 7676"/>
                  <a:gd name="T7" fmla="*/ 4324 h 4324"/>
                  <a:gd name="T8" fmla="*/ 7676 w 7676"/>
                  <a:gd name="T9" fmla="*/ 4324 h 4324"/>
                  <a:gd name="T10" fmla="*/ 7676 w 7676"/>
                  <a:gd name="T11" fmla="*/ 0 h 4324"/>
                  <a:gd name="T12" fmla="*/ 2620 w 7676"/>
                  <a:gd name="T13" fmla="*/ 0 h 4324"/>
                </a:gdLst>
                <a:ahLst/>
                <a:cxnLst>
                  <a:cxn ang="0">
                    <a:pos x="T0" y="T1"/>
                  </a:cxn>
                  <a:cxn ang="0">
                    <a:pos x="T2" y="T3"/>
                  </a:cxn>
                  <a:cxn ang="0">
                    <a:pos x="T4" y="T5"/>
                  </a:cxn>
                  <a:cxn ang="0">
                    <a:pos x="T6" y="T7"/>
                  </a:cxn>
                  <a:cxn ang="0">
                    <a:pos x="T8" y="T9"/>
                  </a:cxn>
                  <a:cxn ang="0">
                    <a:pos x="T10" y="T11"/>
                  </a:cxn>
                  <a:cxn ang="0">
                    <a:pos x="T12" y="T13"/>
                  </a:cxn>
                </a:cxnLst>
                <a:rect l="0" t="0" r="r" b="b"/>
                <a:pathLst>
                  <a:path w="7676" h="4324">
                    <a:moveTo>
                      <a:pt x="2620" y="0"/>
                    </a:moveTo>
                    <a:lnTo>
                      <a:pt x="3866" y="2987"/>
                    </a:lnTo>
                    <a:lnTo>
                      <a:pt x="0" y="2068"/>
                    </a:lnTo>
                    <a:lnTo>
                      <a:pt x="0" y="4324"/>
                    </a:lnTo>
                    <a:lnTo>
                      <a:pt x="7676" y="4324"/>
                    </a:lnTo>
                    <a:lnTo>
                      <a:pt x="7676" y="0"/>
                    </a:lnTo>
                    <a:lnTo>
                      <a:pt x="262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5" name="Freeform 61"/>
              <p:cNvSpPr>
                <a:spLocks/>
              </p:cNvSpPr>
              <p:nvPr userDrawn="1"/>
            </p:nvSpPr>
            <p:spPr bwMode="auto">
              <a:xfrm>
                <a:off x="3144845" y="4029075"/>
                <a:ext cx="2989255" cy="1700213"/>
              </a:xfrm>
              <a:custGeom>
                <a:avLst/>
                <a:gdLst>
                  <a:gd name="T0" fmla="*/ 44 w 1874"/>
                  <a:gd name="T1" fmla="*/ 0 h 1071"/>
                  <a:gd name="T2" fmla="*/ 1874 w 1874"/>
                  <a:gd name="T3" fmla="*/ 447 h 1071"/>
                  <a:gd name="T4" fmla="*/ 276 w 1874"/>
                  <a:gd name="T5" fmla="*/ 1071 h 1071"/>
                  <a:gd name="T6" fmla="*/ 0 w 1874"/>
                  <a:gd name="T7" fmla="*/ 102 h 1071"/>
                  <a:gd name="T8" fmla="*/ 44 w 1874"/>
                  <a:gd name="T9" fmla="*/ 0 h 1071"/>
                  <a:gd name="connsiteX0" fmla="*/ 283 w 10048"/>
                  <a:gd name="connsiteY0" fmla="*/ 0 h 10000"/>
                  <a:gd name="connsiteX1" fmla="*/ 10048 w 10048"/>
                  <a:gd name="connsiteY1" fmla="*/ 4174 h 10000"/>
                  <a:gd name="connsiteX2" fmla="*/ 1521 w 10048"/>
                  <a:gd name="connsiteY2" fmla="*/ 10000 h 10000"/>
                  <a:gd name="connsiteX3" fmla="*/ 0 w 10048"/>
                  <a:gd name="connsiteY3" fmla="*/ 1134 h 10000"/>
                  <a:gd name="connsiteX4" fmla="*/ 283 w 1004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8" h="10000">
                    <a:moveTo>
                      <a:pt x="283" y="0"/>
                    </a:moveTo>
                    <a:lnTo>
                      <a:pt x="10048" y="4174"/>
                    </a:lnTo>
                    <a:lnTo>
                      <a:pt x="1521" y="10000"/>
                    </a:lnTo>
                    <a:lnTo>
                      <a:pt x="0" y="1134"/>
                    </a:lnTo>
                    <a:cubicBezTo>
                      <a:pt x="94" y="756"/>
                      <a:pt x="189" y="378"/>
                      <a:pt x="283" y="0"/>
                    </a:cubicBezTo>
                    <a:close/>
                  </a:path>
                </a:pathLst>
              </a:custGeom>
              <a:solidFill>
                <a:srgbClr val="C08FC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62"/>
              <p:cNvSpPr>
                <a:spLocks/>
              </p:cNvSpPr>
              <p:nvPr userDrawn="1"/>
            </p:nvSpPr>
            <p:spPr bwMode="auto">
              <a:xfrm>
                <a:off x="2286000" y="5716588"/>
                <a:ext cx="1612900" cy="928688"/>
              </a:xfrm>
              <a:custGeom>
                <a:avLst/>
                <a:gdLst>
                  <a:gd name="T0" fmla="*/ 0 w 1016"/>
                  <a:gd name="T1" fmla="*/ 333 h 585"/>
                  <a:gd name="T2" fmla="*/ 1016 w 1016"/>
                  <a:gd name="T3" fmla="*/ 585 h 585"/>
                  <a:gd name="T4" fmla="*/ 840 w 1016"/>
                  <a:gd name="T5" fmla="*/ 0 h 585"/>
                  <a:gd name="T6" fmla="*/ 0 w 1016"/>
                  <a:gd name="T7" fmla="*/ 333 h 585"/>
                </a:gdLst>
                <a:ahLst/>
                <a:cxnLst>
                  <a:cxn ang="0">
                    <a:pos x="T0" y="T1"/>
                  </a:cxn>
                  <a:cxn ang="0">
                    <a:pos x="T2" y="T3"/>
                  </a:cxn>
                  <a:cxn ang="0">
                    <a:pos x="T4" y="T5"/>
                  </a:cxn>
                  <a:cxn ang="0">
                    <a:pos x="T6" y="T7"/>
                  </a:cxn>
                </a:cxnLst>
                <a:rect l="0" t="0" r="r" b="b"/>
                <a:pathLst>
                  <a:path w="1016" h="585">
                    <a:moveTo>
                      <a:pt x="0" y="333"/>
                    </a:moveTo>
                    <a:lnTo>
                      <a:pt x="1016" y="585"/>
                    </a:lnTo>
                    <a:lnTo>
                      <a:pt x="840" y="0"/>
                    </a:lnTo>
                    <a:lnTo>
                      <a:pt x="0" y="333"/>
                    </a:lnTo>
                    <a:close/>
                  </a:path>
                </a:pathLst>
              </a:custGeom>
              <a:solidFill>
                <a:srgbClr val="CFA9C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63"/>
              <p:cNvSpPr>
                <a:spLocks/>
              </p:cNvSpPr>
              <p:nvPr userDrawn="1"/>
            </p:nvSpPr>
            <p:spPr bwMode="auto">
              <a:xfrm>
                <a:off x="2286000" y="4191000"/>
                <a:ext cx="1333500" cy="2054225"/>
              </a:xfrm>
              <a:custGeom>
                <a:avLst/>
                <a:gdLst>
                  <a:gd name="T0" fmla="*/ 550 w 840"/>
                  <a:gd name="T1" fmla="*/ 0 h 1294"/>
                  <a:gd name="T2" fmla="*/ 0 w 840"/>
                  <a:gd name="T3" fmla="*/ 1294 h 1294"/>
                  <a:gd name="T4" fmla="*/ 840 w 840"/>
                  <a:gd name="T5" fmla="*/ 965 h 1294"/>
                  <a:gd name="T6" fmla="*/ 550 w 840"/>
                  <a:gd name="T7" fmla="*/ 0 h 1294"/>
                </a:gdLst>
                <a:ahLst/>
                <a:cxnLst>
                  <a:cxn ang="0">
                    <a:pos x="T0" y="T1"/>
                  </a:cxn>
                  <a:cxn ang="0">
                    <a:pos x="T2" y="T3"/>
                  </a:cxn>
                  <a:cxn ang="0">
                    <a:pos x="T4" y="T5"/>
                  </a:cxn>
                  <a:cxn ang="0">
                    <a:pos x="T6" y="T7"/>
                  </a:cxn>
                </a:cxnLst>
                <a:rect l="0" t="0" r="r" b="b"/>
                <a:pathLst>
                  <a:path w="840" h="1294">
                    <a:moveTo>
                      <a:pt x="550" y="0"/>
                    </a:moveTo>
                    <a:lnTo>
                      <a:pt x="0" y="1294"/>
                    </a:lnTo>
                    <a:lnTo>
                      <a:pt x="840" y="965"/>
                    </a:lnTo>
                    <a:lnTo>
                      <a:pt x="550" y="0"/>
                    </a:lnTo>
                    <a:close/>
                  </a:path>
                </a:pathLst>
              </a:custGeom>
              <a:solidFill>
                <a:srgbClr val="B881B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2" name="Freeform 64"/>
            <p:cNvSpPr>
              <a:spLocks/>
            </p:cNvSpPr>
            <p:nvPr userDrawn="1"/>
          </p:nvSpPr>
          <p:spPr bwMode="auto">
            <a:xfrm>
              <a:off x="0" y="-3175"/>
              <a:ext cx="6134100" cy="4741863"/>
            </a:xfrm>
            <a:custGeom>
              <a:avLst/>
              <a:gdLst>
                <a:gd name="T0" fmla="*/ 3864 w 3864"/>
                <a:gd name="T1" fmla="*/ 2987 h 2987"/>
                <a:gd name="T2" fmla="*/ 0 w 3864"/>
                <a:gd name="T3" fmla="*/ 2068 h 2987"/>
                <a:gd name="T4" fmla="*/ 0 w 3864"/>
                <a:gd name="T5" fmla="*/ 0 h 2987"/>
                <a:gd name="T6" fmla="*/ 2618 w 3864"/>
                <a:gd name="T7" fmla="*/ 0 h 2987"/>
                <a:gd name="T8" fmla="*/ 3864 w 3864"/>
                <a:gd name="T9" fmla="*/ 2987 h 2987"/>
              </a:gdLst>
              <a:ahLst/>
              <a:cxnLst>
                <a:cxn ang="0">
                  <a:pos x="T0" y="T1"/>
                </a:cxn>
                <a:cxn ang="0">
                  <a:pos x="T2" y="T3"/>
                </a:cxn>
                <a:cxn ang="0">
                  <a:pos x="T4" y="T5"/>
                </a:cxn>
                <a:cxn ang="0">
                  <a:pos x="T6" y="T7"/>
                </a:cxn>
                <a:cxn ang="0">
                  <a:pos x="T8" y="T9"/>
                </a:cxn>
              </a:cxnLst>
              <a:rect l="0" t="0" r="r" b="b"/>
              <a:pathLst>
                <a:path w="3864" h="2987">
                  <a:moveTo>
                    <a:pt x="3864" y="2987"/>
                  </a:moveTo>
                  <a:lnTo>
                    <a:pt x="0" y="2068"/>
                  </a:lnTo>
                  <a:lnTo>
                    <a:pt x="0" y="0"/>
                  </a:lnTo>
                  <a:lnTo>
                    <a:pt x="2618" y="0"/>
                  </a:lnTo>
                  <a:lnTo>
                    <a:pt x="3864" y="298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3" name="Text Box 3"/>
          <p:cNvSpPr txBox="1">
            <a:spLocks noChangeArrowheads="1"/>
          </p:cNvSpPr>
          <p:nvPr userDrawn="1"/>
        </p:nvSpPr>
        <p:spPr bwMode="blackWhite">
          <a:xfrm>
            <a:off x="319661" y="5800823"/>
            <a:ext cx="5066594" cy="1401519"/>
          </a:xfrm>
          <a:prstGeom prst="rect">
            <a:avLst/>
          </a:prstGeom>
          <a:noFill/>
          <a:ln w="12700">
            <a:noFill/>
            <a:miter lim="800000"/>
            <a:headEnd type="none" w="sm" len="sm"/>
            <a:tailEnd type="none" w="sm" len="sm"/>
          </a:ln>
          <a:effectLst/>
        </p:spPr>
        <p:txBody>
          <a:bodyPr vert="horz" wrap="square" lIns="0" tIns="0" rIns="0" bIns="0" numCol="1" anchor="ctr" anchorCtr="0" compatLnSpc="1">
            <a:prstTxWarp prst="textNoShape">
              <a:avLst/>
            </a:prstTxWarp>
            <a:noAutofit/>
          </a:bodyPr>
          <a:lstStyle/>
          <a:p>
            <a:pPr algn="l" defTabSz="913924" eaLnBrk="0" hangingPunct="0"/>
            <a:r>
              <a:rPr lang="en-AU" sz="600" dirty="0">
                <a:solidFill>
                  <a:schemeClr val="bg1"/>
                </a:solidFill>
                <a:cs typeface="Segoe UI" pitchFamily="34" charset="0"/>
              </a:rPr>
              <a:t>© 2017</a:t>
            </a:r>
            <a:r>
              <a:rPr lang="en-AU" sz="600" baseline="0" dirty="0">
                <a:solidFill>
                  <a:schemeClr val="bg1"/>
                </a:solidFill>
                <a:cs typeface="Segoe UI" pitchFamily="34" charset="0"/>
              </a:rPr>
              <a:t> </a:t>
            </a:r>
            <a:r>
              <a:rPr lang="en-AU" sz="600" dirty="0">
                <a:solidFill>
                  <a:schemeClr val="bg1"/>
                </a:solidFill>
                <a:cs typeface="Segoe UI" pitchFamily="34" charset="0"/>
              </a:rPr>
              <a:t> Velrada Capital Pty Ltd. All rights reserved.</a:t>
            </a:r>
            <a:r>
              <a:rPr lang="en-AU" sz="600" baseline="0" dirty="0">
                <a:solidFill>
                  <a:schemeClr val="bg1"/>
                </a:solidFill>
                <a:cs typeface="Segoe UI" pitchFamily="34" charset="0"/>
              </a:rPr>
              <a:t> </a:t>
            </a:r>
            <a:r>
              <a:rPr lang="en-AU" sz="600" dirty="0">
                <a:solidFill>
                  <a:schemeClr val="bg1"/>
                </a:solidFill>
                <a:cs typeface="Segoe UI" pitchFamily="34" charset="0"/>
              </a:rPr>
              <a:t>The information contained herein is for informational purposes only and represents the current view of Velrada Capital as at the date of the presentation.  Velrada Capital cannot guarantee the accuracy of any information provided after the date of this presentation. Velrada Capital makes no warranties, express, implied or statutory as to the information in this presentation.</a:t>
            </a:r>
          </a:p>
        </p:txBody>
      </p:sp>
      <p:sp>
        <p:nvSpPr>
          <p:cNvPr id="15" name="Subtitle 2"/>
          <p:cNvSpPr txBox="1">
            <a:spLocks/>
          </p:cNvSpPr>
          <p:nvPr userDrawn="1"/>
        </p:nvSpPr>
        <p:spPr>
          <a:xfrm>
            <a:off x="319661" y="3064237"/>
            <a:ext cx="5768707" cy="1034782"/>
          </a:xfrm>
          <a:prstGeom prst="rect">
            <a:avLst/>
          </a:prstGeom>
        </p:spPr>
        <p:txBody>
          <a:bodyPr>
            <a:norm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endParaRPr lang="en-US" sz="2800" dirty="0">
              <a:solidFill>
                <a:schemeClr val="bg1"/>
              </a:solidFill>
            </a:endParaRPr>
          </a:p>
        </p:txBody>
      </p:sp>
      <p:grpSp>
        <p:nvGrpSpPr>
          <p:cNvPr id="2" name="Group 1"/>
          <p:cNvGrpSpPr/>
          <p:nvPr userDrawn="1"/>
        </p:nvGrpSpPr>
        <p:grpSpPr>
          <a:xfrm>
            <a:off x="6300729" y="1179160"/>
            <a:ext cx="5151043" cy="2435986"/>
            <a:chOff x="6314807" y="1232577"/>
            <a:chExt cx="5151043" cy="2435986"/>
          </a:xfrm>
        </p:grpSpPr>
        <p:grpSp>
          <p:nvGrpSpPr>
            <p:cNvPr id="17" name="Group 16"/>
            <p:cNvGrpSpPr/>
            <p:nvPr userDrawn="1"/>
          </p:nvGrpSpPr>
          <p:grpSpPr>
            <a:xfrm>
              <a:off x="6314807" y="1232577"/>
              <a:ext cx="2971796" cy="519233"/>
              <a:chOff x="391261" y="3631314"/>
              <a:chExt cx="4322465" cy="755222"/>
            </a:xfrm>
          </p:grpSpPr>
          <p:grpSp>
            <p:nvGrpSpPr>
              <p:cNvPr id="18" name="Group 17"/>
              <p:cNvGrpSpPr/>
              <p:nvPr userDrawn="1"/>
            </p:nvGrpSpPr>
            <p:grpSpPr>
              <a:xfrm>
                <a:off x="391261" y="3631314"/>
                <a:ext cx="755222" cy="755222"/>
                <a:chOff x="-2529227" y="0"/>
                <a:chExt cx="980334" cy="980334"/>
              </a:xfrm>
            </p:grpSpPr>
            <p:sp>
              <p:nvSpPr>
                <p:cNvPr id="20" name="Oval 102"/>
                <p:cNvSpPr>
                  <a:spLocks noChangeArrowheads="1"/>
                </p:cNvSpPr>
                <p:nvPr userDrawn="1"/>
              </p:nvSpPr>
              <p:spPr bwMode="auto">
                <a:xfrm>
                  <a:off x="-2529227" y="0"/>
                  <a:ext cx="980334" cy="98033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21" name="Oval 113"/>
                <p:cNvSpPr>
                  <a:spLocks noChangeArrowheads="1"/>
                </p:cNvSpPr>
                <p:nvPr userDrawn="1"/>
              </p:nvSpPr>
              <p:spPr bwMode="auto">
                <a:xfrm>
                  <a:off x="-2149254" y="334377"/>
                  <a:ext cx="60796" cy="5319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22" name="Oval 114"/>
                <p:cNvSpPr>
                  <a:spLocks noChangeArrowheads="1"/>
                </p:cNvSpPr>
                <p:nvPr userDrawn="1"/>
              </p:nvSpPr>
              <p:spPr bwMode="auto">
                <a:xfrm>
                  <a:off x="-2111259" y="402770"/>
                  <a:ext cx="38000" cy="380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23" name="Oval 115"/>
                <p:cNvSpPr>
                  <a:spLocks noChangeArrowheads="1"/>
                </p:cNvSpPr>
                <p:nvPr userDrawn="1"/>
              </p:nvSpPr>
              <p:spPr bwMode="auto">
                <a:xfrm>
                  <a:off x="-2050463" y="357173"/>
                  <a:ext cx="60796" cy="607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24" name="Oval 116"/>
                <p:cNvSpPr>
                  <a:spLocks noChangeArrowheads="1"/>
                </p:cNvSpPr>
                <p:nvPr userDrawn="1"/>
              </p:nvSpPr>
              <p:spPr bwMode="auto">
                <a:xfrm>
                  <a:off x="-1951667" y="243183"/>
                  <a:ext cx="45597" cy="4559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25" name="Oval 117"/>
                <p:cNvSpPr>
                  <a:spLocks noChangeArrowheads="1"/>
                </p:cNvSpPr>
                <p:nvPr userDrawn="1"/>
              </p:nvSpPr>
              <p:spPr bwMode="auto">
                <a:xfrm>
                  <a:off x="-1921269" y="288780"/>
                  <a:ext cx="45597" cy="4559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26" name="Oval 118"/>
                <p:cNvSpPr>
                  <a:spLocks noChangeArrowheads="1"/>
                </p:cNvSpPr>
                <p:nvPr userDrawn="1"/>
              </p:nvSpPr>
              <p:spPr bwMode="auto">
                <a:xfrm>
                  <a:off x="-1875673" y="364775"/>
                  <a:ext cx="53199" cy="4559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27" name="Oval 119"/>
                <p:cNvSpPr>
                  <a:spLocks noChangeArrowheads="1"/>
                </p:cNvSpPr>
                <p:nvPr userDrawn="1"/>
              </p:nvSpPr>
              <p:spPr bwMode="auto">
                <a:xfrm>
                  <a:off x="-1852877" y="676350"/>
                  <a:ext cx="45597" cy="380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28" name="Oval 120"/>
                <p:cNvSpPr>
                  <a:spLocks noChangeArrowheads="1"/>
                </p:cNvSpPr>
                <p:nvPr userDrawn="1"/>
              </p:nvSpPr>
              <p:spPr bwMode="auto">
                <a:xfrm>
                  <a:off x="-2164452" y="638355"/>
                  <a:ext cx="53199" cy="607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29" name="Oval 121"/>
                <p:cNvSpPr>
                  <a:spLocks noChangeArrowheads="1"/>
                </p:cNvSpPr>
                <p:nvPr userDrawn="1"/>
              </p:nvSpPr>
              <p:spPr bwMode="auto">
                <a:xfrm>
                  <a:off x="-2293646" y="562361"/>
                  <a:ext cx="75995" cy="759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30" name="Oval 122"/>
                <p:cNvSpPr>
                  <a:spLocks noChangeArrowheads="1"/>
                </p:cNvSpPr>
                <p:nvPr userDrawn="1"/>
              </p:nvSpPr>
              <p:spPr bwMode="auto">
                <a:xfrm>
                  <a:off x="-1837678" y="547162"/>
                  <a:ext cx="68398" cy="759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31" name="Freeform 123"/>
                <p:cNvSpPr>
                  <a:spLocks/>
                </p:cNvSpPr>
                <p:nvPr userDrawn="1"/>
              </p:nvSpPr>
              <p:spPr bwMode="auto">
                <a:xfrm>
                  <a:off x="-2065662" y="448366"/>
                  <a:ext cx="106393" cy="91194"/>
                </a:xfrm>
                <a:custGeom>
                  <a:avLst/>
                  <a:gdLst>
                    <a:gd name="T0" fmla="*/ 1 w 19"/>
                    <a:gd name="T1" fmla="*/ 0 h 16"/>
                    <a:gd name="T2" fmla="*/ 0 w 19"/>
                    <a:gd name="T3" fmla="*/ 2 h 16"/>
                    <a:gd name="T4" fmla="*/ 18 w 19"/>
                    <a:gd name="T5" fmla="*/ 16 h 16"/>
                    <a:gd name="T6" fmla="*/ 19 w 19"/>
                    <a:gd name="T7" fmla="*/ 14 h 16"/>
                    <a:gd name="T8" fmla="*/ 1 w 19"/>
                    <a:gd name="T9" fmla="*/ 0 h 16"/>
                  </a:gdLst>
                  <a:ahLst/>
                  <a:cxnLst>
                    <a:cxn ang="0">
                      <a:pos x="T0" y="T1"/>
                    </a:cxn>
                    <a:cxn ang="0">
                      <a:pos x="T2" y="T3"/>
                    </a:cxn>
                    <a:cxn ang="0">
                      <a:pos x="T4" y="T5"/>
                    </a:cxn>
                    <a:cxn ang="0">
                      <a:pos x="T6" y="T7"/>
                    </a:cxn>
                    <a:cxn ang="0">
                      <a:pos x="T8" y="T9"/>
                    </a:cxn>
                  </a:cxnLst>
                  <a:rect l="0" t="0" r="r" b="b"/>
                  <a:pathLst>
                    <a:path w="19" h="16">
                      <a:moveTo>
                        <a:pt x="1" y="0"/>
                      </a:moveTo>
                      <a:cubicBezTo>
                        <a:pt x="1" y="1"/>
                        <a:pt x="0" y="1"/>
                        <a:pt x="0" y="2"/>
                      </a:cubicBezTo>
                      <a:cubicBezTo>
                        <a:pt x="5" y="8"/>
                        <a:pt x="11" y="13"/>
                        <a:pt x="18" y="16"/>
                      </a:cubicBezTo>
                      <a:cubicBezTo>
                        <a:pt x="19" y="16"/>
                        <a:pt x="19" y="15"/>
                        <a:pt x="19" y="14"/>
                      </a:cubicBezTo>
                      <a:cubicBezTo>
                        <a:pt x="12" y="11"/>
                        <a:pt x="6" y="6"/>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32" name="Freeform 124"/>
                <p:cNvSpPr>
                  <a:spLocks/>
                </p:cNvSpPr>
                <p:nvPr userDrawn="1"/>
              </p:nvSpPr>
              <p:spPr bwMode="auto">
                <a:xfrm>
                  <a:off x="-1959269" y="539560"/>
                  <a:ext cx="151989" cy="45597"/>
                </a:xfrm>
                <a:custGeom>
                  <a:avLst/>
                  <a:gdLst>
                    <a:gd name="T0" fmla="*/ 0 w 26"/>
                    <a:gd name="T1" fmla="*/ 2 h 9"/>
                    <a:gd name="T2" fmla="*/ 26 w 26"/>
                    <a:gd name="T3" fmla="*/ 9 h 9"/>
                    <a:gd name="T4" fmla="*/ 26 w 26"/>
                    <a:gd name="T5" fmla="*/ 7 h 9"/>
                    <a:gd name="T6" fmla="*/ 1 w 26"/>
                    <a:gd name="T7" fmla="*/ 0 h 9"/>
                    <a:gd name="T8" fmla="*/ 0 w 26"/>
                    <a:gd name="T9" fmla="*/ 2 h 9"/>
                  </a:gdLst>
                  <a:ahLst/>
                  <a:cxnLst>
                    <a:cxn ang="0">
                      <a:pos x="T0" y="T1"/>
                    </a:cxn>
                    <a:cxn ang="0">
                      <a:pos x="T2" y="T3"/>
                    </a:cxn>
                    <a:cxn ang="0">
                      <a:pos x="T4" y="T5"/>
                    </a:cxn>
                    <a:cxn ang="0">
                      <a:pos x="T6" y="T7"/>
                    </a:cxn>
                    <a:cxn ang="0">
                      <a:pos x="T8" y="T9"/>
                    </a:cxn>
                  </a:cxnLst>
                  <a:rect l="0" t="0" r="r" b="b"/>
                  <a:pathLst>
                    <a:path w="26" h="9">
                      <a:moveTo>
                        <a:pt x="0" y="2"/>
                      </a:moveTo>
                      <a:cubicBezTo>
                        <a:pt x="8" y="6"/>
                        <a:pt x="17" y="8"/>
                        <a:pt x="26" y="9"/>
                      </a:cubicBezTo>
                      <a:cubicBezTo>
                        <a:pt x="26" y="9"/>
                        <a:pt x="26" y="8"/>
                        <a:pt x="26" y="7"/>
                      </a:cubicBezTo>
                      <a:cubicBezTo>
                        <a:pt x="17" y="6"/>
                        <a:pt x="8" y="4"/>
                        <a:pt x="1" y="0"/>
                      </a:cubicBezTo>
                      <a:cubicBezTo>
                        <a:pt x="1" y="0"/>
                        <a:pt x="1"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33" name="Freeform 125"/>
                <p:cNvSpPr>
                  <a:spLocks/>
                </p:cNvSpPr>
                <p:nvPr userDrawn="1"/>
              </p:nvSpPr>
              <p:spPr bwMode="auto">
                <a:xfrm>
                  <a:off x="-2096060" y="417968"/>
                  <a:ext cx="22801" cy="30398"/>
                </a:xfrm>
                <a:custGeom>
                  <a:avLst/>
                  <a:gdLst>
                    <a:gd name="T0" fmla="*/ 4 w 4"/>
                    <a:gd name="T1" fmla="*/ 3 h 5"/>
                    <a:gd name="T2" fmla="*/ 2 w 4"/>
                    <a:gd name="T3" fmla="*/ 0 h 5"/>
                    <a:gd name="T4" fmla="*/ 0 w 4"/>
                    <a:gd name="T5" fmla="*/ 1 h 5"/>
                    <a:gd name="T6" fmla="*/ 3 w 4"/>
                    <a:gd name="T7" fmla="*/ 5 h 5"/>
                    <a:gd name="T8" fmla="*/ 4 w 4"/>
                    <a:gd name="T9" fmla="*/ 3 h 5"/>
                  </a:gdLst>
                  <a:ahLst/>
                  <a:cxnLst>
                    <a:cxn ang="0">
                      <a:pos x="T0" y="T1"/>
                    </a:cxn>
                    <a:cxn ang="0">
                      <a:pos x="T2" y="T3"/>
                    </a:cxn>
                    <a:cxn ang="0">
                      <a:pos x="T4" y="T5"/>
                    </a:cxn>
                    <a:cxn ang="0">
                      <a:pos x="T6" y="T7"/>
                    </a:cxn>
                    <a:cxn ang="0">
                      <a:pos x="T8" y="T9"/>
                    </a:cxn>
                  </a:cxnLst>
                  <a:rect l="0" t="0" r="r" b="b"/>
                  <a:pathLst>
                    <a:path w="4" h="5">
                      <a:moveTo>
                        <a:pt x="4" y="3"/>
                      </a:moveTo>
                      <a:cubicBezTo>
                        <a:pt x="3" y="2"/>
                        <a:pt x="2" y="1"/>
                        <a:pt x="2" y="0"/>
                      </a:cubicBezTo>
                      <a:cubicBezTo>
                        <a:pt x="1" y="0"/>
                        <a:pt x="0" y="1"/>
                        <a:pt x="0" y="1"/>
                      </a:cubicBezTo>
                      <a:cubicBezTo>
                        <a:pt x="1" y="2"/>
                        <a:pt x="2" y="3"/>
                        <a:pt x="3" y="5"/>
                      </a:cubicBezTo>
                      <a:cubicBezTo>
                        <a:pt x="3" y="4"/>
                        <a:pt x="3" y="3"/>
                        <a:pt x="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34" name="Freeform 126"/>
                <p:cNvSpPr>
                  <a:spLocks/>
                </p:cNvSpPr>
                <p:nvPr userDrawn="1"/>
              </p:nvSpPr>
              <p:spPr bwMode="auto">
                <a:xfrm>
                  <a:off x="-1799678" y="585157"/>
                  <a:ext cx="45597" cy="7602"/>
                </a:xfrm>
                <a:custGeom>
                  <a:avLst/>
                  <a:gdLst>
                    <a:gd name="T0" fmla="*/ 0 w 7"/>
                    <a:gd name="T1" fmla="*/ 0 h 2"/>
                    <a:gd name="T2" fmla="*/ 0 w 7"/>
                    <a:gd name="T3" fmla="*/ 2 h 2"/>
                    <a:gd name="T4" fmla="*/ 5 w 7"/>
                    <a:gd name="T5" fmla="*/ 2 h 2"/>
                    <a:gd name="T6" fmla="*/ 6 w 7"/>
                    <a:gd name="T7" fmla="*/ 2 h 2"/>
                    <a:gd name="T8" fmla="*/ 7 w 7"/>
                    <a:gd name="T9" fmla="*/ 0 h 2"/>
                    <a:gd name="T10" fmla="*/ 5 w 7"/>
                    <a:gd name="T11" fmla="*/ 0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cubicBezTo>
                        <a:pt x="0" y="0"/>
                        <a:pt x="0" y="1"/>
                        <a:pt x="0" y="2"/>
                      </a:cubicBezTo>
                      <a:cubicBezTo>
                        <a:pt x="2" y="2"/>
                        <a:pt x="3" y="2"/>
                        <a:pt x="5" y="2"/>
                      </a:cubicBezTo>
                      <a:cubicBezTo>
                        <a:pt x="5" y="2"/>
                        <a:pt x="6" y="2"/>
                        <a:pt x="6" y="2"/>
                      </a:cubicBezTo>
                      <a:cubicBezTo>
                        <a:pt x="6" y="1"/>
                        <a:pt x="7" y="0"/>
                        <a:pt x="7" y="0"/>
                      </a:cubicBezTo>
                      <a:cubicBezTo>
                        <a:pt x="6" y="0"/>
                        <a:pt x="6" y="0"/>
                        <a:pt x="5" y="0"/>
                      </a:cubicBezTo>
                      <a:cubicBezTo>
                        <a:pt x="3" y="0"/>
                        <a:pt x="2"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35" name="Freeform 127"/>
                <p:cNvSpPr>
                  <a:spLocks/>
                </p:cNvSpPr>
                <p:nvPr userDrawn="1"/>
              </p:nvSpPr>
              <p:spPr bwMode="auto">
                <a:xfrm>
                  <a:off x="-2308845" y="220382"/>
                  <a:ext cx="334377" cy="197586"/>
                </a:xfrm>
                <a:custGeom>
                  <a:avLst/>
                  <a:gdLst>
                    <a:gd name="T0" fmla="*/ 30 w 57"/>
                    <a:gd name="T1" fmla="*/ 26 h 34"/>
                    <a:gd name="T2" fmla="*/ 35 w 57"/>
                    <a:gd name="T3" fmla="*/ 34 h 34"/>
                    <a:gd name="T4" fmla="*/ 37 w 57"/>
                    <a:gd name="T5" fmla="*/ 33 h 34"/>
                    <a:gd name="T6" fmla="*/ 32 w 57"/>
                    <a:gd name="T7" fmla="*/ 26 h 34"/>
                    <a:gd name="T8" fmla="*/ 57 w 57"/>
                    <a:gd name="T9" fmla="*/ 16 h 34"/>
                    <a:gd name="T10" fmla="*/ 56 w 57"/>
                    <a:gd name="T11" fmla="*/ 14 h 34"/>
                    <a:gd name="T12" fmla="*/ 31 w 57"/>
                    <a:gd name="T13" fmla="*/ 24 h 34"/>
                    <a:gd name="T14" fmla="*/ 26 w 57"/>
                    <a:gd name="T15" fmla="*/ 0 h 34"/>
                    <a:gd name="T16" fmla="*/ 24 w 57"/>
                    <a:gd name="T17" fmla="*/ 1 h 34"/>
                    <a:gd name="T18" fmla="*/ 29 w 57"/>
                    <a:gd name="T19" fmla="*/ 24 h 34"/>
                    <a:gd name="T20" fmla="*/ 15 w 57"/>
                    <a:gd name="T21" fmla="*/ 26 h 34"/>
                    <a:gd name="T22" fmla="*/ 1 w 57"/>
                    <a:gd name="T23" fmla="*/ 25 h 34"/>
                    <a:gd name="T24" fmla="*/ 0 w 57"/>
                    <a:gd name="T25" fmla="*/ 27 h 34"/>
                    <a:gd name="T26" fmla="*/ 15 w 57"/>
                    <a:gd name="T27" fmla="*/ 28 h 34"/>
                    <a:gd name="T28" fmla="*/ 30 w 57"/>
                    <a:gd name="T29"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34">
                      <a:moveTo>
                        <a:pt x="30" y="26"/>
                      </a:moveTo>
                      <a:cubicBezTo>
                        <a:pt x="31" y="29"/>
                        <a:pt x="33" y="32"/>
                        <a:pt x="35" y="34"/>
                      </a:cubicBezTo>
                      <a:cubicBezTo>
                        <a:pt x="35" y="34"/>
                        <a:pt x="36" y="34"/>
                        <a:pt x="37" y="33"/>
                      </a:cubicBezTo>
                      <a:cubicBezTo>
                        <a:pt x="35" y="31"/>
                        <a:pt x="34" y="28"/>
                        <a:pt x="32" y="26"/>
                      </a:cubicBezTo>
                      <a:cubicBezTo>
                        <a:pt x="41" y="24"/>
                        <a:pt x="50" y="20"/>
                        <a:pt x="57" y="16"/>
                      </a:cubicBezTo>
                      <a:cubicBezTo>
                        <a:pt x="57" y="15"/>
                        <a:pt x="57" y="14"/>
                        <a:pt x="56" y="14"/>
                      </a:cubicBezTo>
                      <a:cubicBezTo>
                        <a:pt x="49" y="18"/>
                        <a:pt x="41" y="22"/>
                        <a:pt x="31" y="24"/>
                      </a:cubicBezTo>
                      <a:cubicBezTo>
                        <a:pt x="28" y="17"/>
                        <a:pt x="26" y="9"/>
                        <a:pt x="26" y="0"/>
                      </a:cubicBezTo>
                      <a:cubicBezTo>
                        <a:pt x="25" y="1"/>
                        <a:pt x="25" y="1"/>
                        <a:pt x="24" y="1"/>
                      </a:cubicBezTo>
                      <a:cubicBezTo>
                        <a:pt x="24" y="9"/>
                        <a:pt x="26" y="17"/>
                        <a:pt x="29" y="24"/>
                      </a:cubicBezTo>
                      <a:cubicBezTo>
                        <a:pt x="24" y="25"/>
                        <a:pt x="20" y="26"/>
                        <a:pt x="15" y="26"/>
                      </a:cubicBezTo>
                      <a:cubicBezTo>
                        <a:pt x="10" y="26"/>
                        <a:pt x="6" y="25"/>
                        <a:pt x="1" y="25"/>
                      </a:cubicBezTo>
                      <a:cubicBezTo>
                        <a:pt x="1" y="25"/>
                        <a:pt x="1" y="26"/>
                        <a:pt x="0" y="27"/>
                      </a:cubicBezTo>
                      <a:cubicBezTo>
                        <a:pt x="5" y="27"/>
                        <a:pt x="10" y="28"/>
                        <a:pt x="15" y="28"/>
                      </a:cubicBezTo>
                      <a:cubicBezTo>
                        <a:pt x="20" y="28"/>
                        <a:pt x="25" y="27"/>
                        <a:pt x="3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36" name="Freeform 128"/>
                <p:cNvSpPr>
                  <a:spLocks/>
                </p:cNvSpPr>
                <p:nvPr userDrawn="1"/>
              </p:nvSpPr>
              <p:spPr bwMode="auto">
                <a:xfrm>
                  <a:off x="-1928871" y="227984"/>
                  <a:ext cx="38000" cy="38000"/>
                </a:xfrm>
                <a:custGeom>
                  <a:avLst/>
                  <a:gdLst>
                    <a:gd name="T0" fmla="*/ 0 w 7"/>
                    <a:gd name="T1" fmla="*/ 5 h 6"/>
                    <a:gd name="T2" fmla="*/ 2 w 7"/>
                    <a:gd name="T3" fmla="*/ 6 h 6"/>
                    <a:gd name="T4" fmla="*/ 7 w 7"/>
                    <a:gd name="T5" fmla="*/ 1 h 6"/>
                    <a:gd name="T6" fmla="*/ 5 w 7"/>
                    <a:gd name="T7" fmla="*/ 0 h 6"/>
                    <a:gd name="T8" fmla="*/ 0 w 7"/>
                    <a:gd name="T9" fmla="*/ 5 h 6"/>
                  </a:gdLst>
                  <a:ahLst/>
                  <a:cxnLst>
                    <a:cxn ang="0">
                      <a:pos x="T0" y="T1"/>
                    </a:cxn>
                    <a:cxn ang="0">
                      <a:pos x="T2" y="T3"/>
                    </a:cxn>
                    <a:cxn ang="0">
                      <a:pos x="T4" y="T5"/>
                    </a:cxn>
                    <a:cxn ang="0">
                      <a:pos x="T6" y="T7"/>
                    </a:cxn>
                    <a:cxn ang="0">
                      <a:pos x="T8" y="T9"/>
                    </a:cxn>
                  </a:cxnLst>
                  <a:rect l="0" t="0" r="r" b="b"/>
                  <a:pathLst>
                    <a:path w="7" h="6">
                      <a:moveTo>
                        <a:pt x="0" y="5"/>
                      </a:moveTo>
                      <a:cubicBezTo>
                        <a:pt x="1" y="5"/>
                        <a:pt x="1" y="6"/>
                        <a:pt x="2" y="6"/>
                      </a:cubicBezTo>
                      <a:cubicBezTo>
                        <a:pt x="4" y="5"/>
                        <a:pt x="5" y="3"/>
                        <a:pt x="7" y="1"/>
                      </a:cubicBezTo>
                      <a:cubicBezTo>
                        <a:pt x="6" y="0"/>
                        <a:pt x="6" y="0"/>
                        <a:pt x="5" y="0"/>
                      </a:cubicBezTo>
                      <a:cubicBezTo>
                        <a:pt x="4" y="1"/>
                        <a:pt x="2" y="3"/>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37" name="Freeform 129"/>
                <p:cNvSpPr>
                  <a:spLocks/>
                </p:cNvSpPr>
                <p:nvPr userDrawn="1"/>
              </p:nvSpPr>
              <p:spPr bwMode="auto">
                <a:xfrm>
                  <a:off x="-1974468" y="273581"/>
                  <a:ext cx="45597" cy="30398"/>
                </a:xfrm>
                <a:custGeom>
                  <a:avLst/>
                  <a:gdLst>
                    <a:gd name="T0" fmla="*/ 6 w 8"/>
                    <a:gd name="T1" fmla="*/ 0 h 6"/>
                    <a:gd name="T2" fmla="*/ 0 w 8"/>
                    <a:gd name="T3" fmla="*/ 4 h 6"/>
                    <a:gd name="T4" fmla="*/ 1 w 8"/>
                    <a:gd name="T5" fmla="*/ 6 h 6"/>
                    <a:gd name="T6" fmla="*/ 8 w 8"/>
                    <a:gd name="T7" fmla="*/ 1 h 6"/>
                    <a:gd name="T8" fmla="*/ 6 w 8"/>
                    <a:gd name="T9" fmla="*/ 0 h 6"/>
                  </a:gdLst>
                  <a:ahLst/>
                  <a:cxnLst>
                    <a:cxn ang="0">
                      <a:pos x="T0" y="T1"/>
                    </a:cxn>
                    <a:cxn ang="0">
                      <a:pos x="T2" y="T3"/>
                    </a:cxn>
                    <a:cxn ang="0">
                      <a:pos x="T4" y="T5"/>
                    </a:cxn>
                    <a:cxn ang="0">
                      <a:pos x="T6" y="T7"/>
                    </a:cxn>
                    <a:cxn ang="0">
                      <a:pos x="T8" y="T9"/>
                    </a:cxn>
                  </a:cxnLst>
                  <a:rect l="0" t="0" r="r" b="b"/>
                  <a:pathLst>
                    <a:path w="8" h="6">
                      <a:moveTo>
                        <a:pt x="6" y="0"/>
                      </a:moveTo>
                      <a:cubicBezTo>
                        <a:pt x="4" y="1"/>
                        <a:pt x="2" y="3"/>
                        <a:pt x="0" y="4"/>
                      </a:cubicBezTo>
                      <a:cubicBezTo>
                        <a:pt x="0" y="5"/>
                        <a:pt x="1" y="6"/>
                        <a:pt x="1" y="6"/>
                      </a:cubicBezTo>
                      <a:cubicBezTo>
                        <a:pt x="3" y="5"/>
                        <a:pt x="6" y="3"/>
                        <a:pt x="8" y="1"/>
                      </a:cubicBezTo>
                      <a:cubicBezTo>
                        <a:pt x="7" y="1"/>
                        <a:pt x="7" y="0"/>
                        <a:pt x="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38" name="Freeform 130"/>
                <p:cNvSpPr>
                  <a:spLocks/>
                </p:cNvSpPr>
                <p:nvPr userDrawn="1"/>
              </p:nvSpPr>
              <p:spPr bwMode="auto">
                <a:xfrm>
                  <a:off x="-2012463" y="691549"/>
                  <a:ext cx="189989" cy="22801"/>
                </a:xfrm>
                <a:custGeom>
                  <a:avLst/>
                  <a:gdLst>
                    <a:gd name="T0" fmla="*/ 14 w 32"/>
                    <a:gd name="T1" fmla="*/ 1 h 4"/>
                    <a:gd name="T2" fmla="*/ 2 w 32"/>
                    <a:gd name="T3" fmla="*/ 1 h 4"/>
                    <a:gd name="T4" fmla="*/ 0 w 32"/>
                    <a:gd name="T5" fmla="*/ 3 h 4"/>
                    <a:gd name="T6" fmla="*/ 14 w 32"/>
                    <a:gd name="T7" fmla="*/ 4 h 4"/>
                    <a:gd name="T8" fmla="*/ 29 w 32"/>
                    <a:gd name="T9" fmla="*/ 3 h 4"/>
                    <a:gd name="T10" fmla="*/ 32 w 32"/>
                    <a:gd name="T11" fmla="*/ 0 h 4"/>
                    <a:gd name="T12" fmla="*/ 32 w 32"/>
                    <a:gd name="T13" fmla="*/ 0 h 4"/>
                    <a:gd name="T14" fmla="*/ 14 w 32"/>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4">
                      <a:moveTo>
                        <a:pt x="14" y="1"/>
                      </a:moveTo>
                      <a:cubicBezTo>
                        <a:pt x="10" y="1"/>
                        <a:pt x="6" y="1"/>
                        <a:pt x="2" y="1"/>
                      </a:cubicBezTo>
                      <a:cubicBezTo>
                        <a:pt x="1" y="1"/>
                        <a:pt x="1" y="2"/>
                        <a:pt x="0" y="3"/>
                      </a:cubicBezTo>
                      <a:cubicBezTo>
                        <a:pt x="5" y="4"/>
                        <a:pt x="10" y="4"/>
                        <a:pt x="14" y="4"/>
                      </a:cubicBezTo>
                      <a:cubicBezTo>
                        <a:pt x="19" y="4"/>
                        <a:pt x="24" y="4"/>
                        <a:pt x="29" y="3"/>
                      </a:cubicBezTo>
                      <a:cubicBezTo>
                        <a:pt x="30" y="2"/>
                        <a:pt x="31" y="1"/>
                        <a:pt x="32" y="0"/>
                      </a:cubicBezTo>
                      <a:cubicBezTo>
                        <a:pt x="32" y="0"/>
                        <a:pt x="32" y="0"/>
                        <a:pt x="32" y="0"/>
                      </a:cubicBezTo>
                      <a:cubicBezTo>
                        <a:pt x="26" y="1"/>
                        <a:pt x="20" y="1"/>
                        <a:pt x="14"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39" name="Freeform 131"/>
                <p:cNvSpPr>
                  <a:spLocks/>
                </p:cNvSpPr>
                <p:nvPr userDrawn="1"/>
              </p:nvSpPr>
              <p:spPr bwMode="auto">
                <a:xfrm>
                  <a:off x="-2126457" y="668753"/>
                  <a:ext cx="121592" cy="38000"/>
                </a:xfrm>
                <a:custGeom>
                  <a:avLst/>
                  <a:gdLst>
                    <a:gd name="T0" fmla="*/ 0 w 21"/>
                    <a:gd name="T1" fmla="*/ 2 h 7"/>
                    <a:gd name="T2" fmla="*/ 0 w 21"/>
                    <a:gd name="T3" fmla="*/ 2 h 7"/>
                    <a:gd name="T4" fmla="*/ 19 w 21"/>
                    <a:gd name="T5" fmla="*/ 7 h 7"/>
                    <a:gd name="T6" fmla="*/ 21 w 21"/>
                    <a:gd name="T7" fmla="*/ 4 h 7"/>
                    <a:gd name="T8" fmla="*/ 0 w 21"/>
                    <a:gd name="T9" fmla="*/ 0 h 7"/>
                    <a:gd name="T10" fmla="*/ 0 w 21"/>
                    <a:gd name="T11" fmla="*/ 2 h 7"/>
                  </a:gdLst>
                  <a:ahLst/>
                  <a:cxnLst>
                    <a:cxn ang="0">
                      <a:pos x="T0" y="T1"/>
                    </a:cxn>
                    <a:cxn ang="0">
                      <a:pos x="T2" y="T3"/>
                    </a:cxn>
                    <a:cxn ang="0">
                      <a:pos x="T4" y="T5"/>
                    </a:cxn>
                    <a:cxn ang="0">
                      <a:pos x="T6" y="T7"/>
                    </a:cxn>
                    <a:cxn ang="0">
                      <a:pos x="T8" y="T9"/>
                    </a:cxn>
                    <a:cxn ang="0">
                      <a:pos x="T10" y="T11"/>
                    </a:cxn>
                  </a:cxnLst>
                  <a:rect l="0" t="0" r="r" b="b"/>
                  <a:pathLst>
                    <a:path w="21" h="7">
                      <a:moveTo>
                        <a:pt x="0" y="2"/>
                      </a:moveTo>
                      <a:cubicBezTo>
                        <a:pt x="0" y="2"/>
                        <a:pt x="0" y="2"/>
                        <a:pt x="0" y="2"/>
                      </a:cubicBezTo>
                      <a:cubicBezTo>
                        <a:pt x="6" y="4"/>
                        <a:pt x="13" y="6"/>
                        <a:pt x="19" y="7"/>
                      </a:cubicBezTo>
                      <a:cubicBezTo>
                        <a:pt x="20" y="6"/>
                        <a:pt x="20" y="5"/>
                        <a:pt x="21" y="4"/>
                      </a:cubicBezTo>
                      <a:cubicBezTo>
                        <a:pt x="14" y="3"/>
                        <a:pt x="7" y="2"/>
                        <a:pt x="0" y="0"/>
                      </a:cubicBezTo>
                      <a:cubicBezTo>
                        <a:pt x="0"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40" name="Freeform 132"/>
                <p:cNvSpPr>
                  <a:spLocks/>
                </p:cNvSpPr>
                <p:nvPr userDrawn="1"/>
              </p:nvSpPr>
              <p:spPr bwMode="auto">
                <a:xfrm>
                  <a:off x="-2255646" y="600356"/>
                  <a:ext cx="113994" cy="75995"/>
                </a:xfrm>
                <a:custGeom>
                  <a:avLst/>
                  <a:gdLst>
                    <a:gd name="T0" fmla="*/ 20 w 20"/>
                    <a:gd name="T1" fmla="*/ 10 h 13"/>
                    <a:gd name="T2" fmla="*/ 1 w 20"/>
                    <a:gd name="T3" fmla="*/ 0 h 13"/>
                    <a:gd name="T4" fmla="*/ 0 w 20"/>
                    <a:gd name="T5" fmla="*/ 2 h 13"/>
                    <a:gd name="T6" fmla="*/ 20 w 20"/>
                    <a:gd name="T7" fmla="*/ 13 h 13"/>
                    <a:gd name="T8" fmla="*/ 20 w 20"/>
                    <a:gd name="T9" fmla="*/ 10 h 13"/>
                  </a:gdLst>
                  <a:ahLst/>
                  <a:cxnLst>
                    <a:cxn ang="0">
                      <a:pos x="T0" y="T1"/>
                    </a:cxn>
                    <a:cxn ang="0">
                      <a:pos x="T2" y="T3"/>
                    </a:cxn>
                    <a:cxn ang="0">
                      <a:pos x="T4" y="T5"/>
                    </a:cxn>
                    <a:cxn ang="0">
                      <a:pos x="T6" y="T7"/>
                    </a:cxn>
                    <a:cxn ang="0">
                      <a:pos x="T8" y="T9"/>
                    </a:cxn>
                  </a:cxnLst>
                  <a:rect l="0" t="0" r="r" b="b"/>
                  <a:pathLst>
                    <a:path w="20" h="13">
                      <a:moveTo>
                        <a:pt x="20" y="10"/>
                      </a:moveTo>
                      <a:cubicBezTo>
                        <a:pt x="13" y="8"/>
                        <a:pt x="7" y="4"/>
                        <a:pt x="1" y="0"/>
                      </a:cubicBezTo>
                      <a:cubicBezTo>
                        <a:pt x="0" y="1"/>
                        <a:pt x="0" y="1"/>
                        <a:pt x="0" y="2"/>
                      </a:cubicBezTo>
                      <a:cubicBezTo>
                        <a:pt x="6" y="7"/>
                        <a:pt x="13" y="10"/>
                        <a:pt x="20" y="13"/>
                      </a:cubicBezTo>
                      <a:cubicBezTo>
                        <a:pt x="20" y="12"/>
                        <a:pt x="20" y="11"/>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41" name="Freeform 133"/>
                <p:cNvSpPr>
                  <a:spLocks/>
                </p:cNvSpPr>
                <p:nvPr userDrawn="1"/>
              </p:nvSpPr>
              <p:spPr bwMode="auto">
                <a:xfrm>
                  <a:off x="-2324044" y="539560"/>
                  <a:ext cx="60796" cy="68398"/>
                </a:xfrm>
                <a:custGeom>
                  <a:avLst/>
                  <a:gdLst>
                    <a:gd name="T0" fmla="*/ 10 w 10"/>
                    <a:gd name="T1" fmla="*/ 9 h 11"/>
                    <a:gd name="T2" fmla="*/ 0 w 10"/>
                    <a:gd name="T3" fmla="*/ 0 h 11"/>
                    <a:gd name="T4" fmla="*/ 1 w 10"/>
                    <a:gd name="T5" fmla="*/ 5 h 11"/>
                    <a:gd name="T6" fmla="*/ 9 w 10"/>
                    <a:gd name="T7" fmla="*/ 11 h 11"/>
                    <a:gd name="T8" fmla="*/ 10 w 10"/>
                    <a:gd name="T9" fmla="*/ 9 h 11"/>
                  </a:gdLst>
                  <a:ahLst/>
                  <a:cxnLst>
                    <a:cxn ang="0">
                      <a:pos x="T0" y="T1"/>
                    </a:cxn>
                    <a:cxn ang="0">
                      <a:pos x="T2" y="T3"/>
                    </a:cxn>
                    <a:cxn ang="0">
                      <a:pos x="T4" y="T5"/>
                    </a:cxn>
                    <a:cxn ang="0">
                      <a:pos x="T6" y="T7"/>
                    </a:cxn>
                    <a:cxn ang="0">
                      <a:pos x="T8" y="T9"/>
                    </a:cxn>
                  </a:cxnLst>
                  <a:rect l="0" t="0" r="r" b="b"/>
                  <a:pathLst>
                    <a:path w="10" h="11">
                      <a:moveTo>
                        <a:pt x="10" y="9"/>
                      </a:moveTo>
                      <a:cubicBezTo>
                        <a:pt x="6" y="6"/>
                        <a:pt x="3" y="3"/>
                        <a:pt x="0" y="0"/>
                      </a:cubicBezTo>
                      <a:cubicBezTo>
                        <a:pt x="0" y="1"/>
                        <a:pt x="1" y="3"/>
                        <a:pt x="1" y="5"/>
                      </a:cubicBezTo>
                      <a:cubicBezTo>
                        <a:pt x="4" y="7"/>
                        <a:pt x="6" y="9"/>
                        <a:pt x="9" y="11"/>
                      </a:cubicBezTo>
                      <a:cubicBezTo>
                        <a:pt x="9" y="10"/>
                        <a:pt x="10" y="9"/>
                        <a:pt x="1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42" name="Freeform 134"/>
                <p:cNvSpPr>
                  <a:spLocks/>
                </p:cNvSpPr>
                <p:nvPr userDrawn="1"/>
              </p:nvSpPr>
              <p:spPr bwMode="auto">
                <a:xfrm>
                  <a:off x="-1898473" y="281178"/>
                  <a:ext cx="91194" cy="30398"/>
                </a:xfrm>
                <a:custGeom>
                  <a:avLst/>
                  <a:gdLst>
                    <a:gd name="T0" fmla="*/ 0 w 15"/>
                    <a:gd name="T1" fmla="*/ 2 h 5"/>
                    <a:gd name="T2" fmla="*/ 2 w 15"/>
                    <a:gd name="T3" fmla="*/ 5 h 5"/>
                    <a:gd name="T4" fmla="*/ 13 w 15"/>
                    <a:gd name="T5" fmla="*/ 3 h 5"/>
                    <a:gd name="T6" fmla="*/ 15 w 15"/>
                    <a:gd name="T7" fmla="*/ 3 h 5"/>
                    <a:gd name="T8" fmla="*/ 12 w 15"/>
                    <a:gd name="T9" fmla="*/ 0 h 5"/>
                    <a:gd name="T10" fmla="*/ 0 w 15"/>
                    <a:gd name="T11" fmla="*/ 2 h 5"/>
                  </a:gdLst>
                  <a:ahLst/>
                  <a:cxnLst>
                    <a:cxn ang="0">
                      <a:pos x="T0" y="T1"/>
                    </a:cxn>
                    <a:cxn ang="0">
                      <a:pos x="T2" y="T3"/>
                    </a:cxn>
                    <a:cxn ang="0">
                      <a:pos x="T4" y="T5"/>
                    </a:cxn>
                    <a:cxn ang="0">
                      <a:pos x="T6" y="T7"/>
                    </a:cxn>
                    <a:cxn ang="0">
                      <a:pos x="T8" y="T9"/>
                    </a:cxn>
                    <a:cxn ang="0">
                      <a:pos x="T10" y="T11"/>
                    </a:cxn>
                  </a:cxnLst>
                  <a:rect l="0" t="0" r="r" b="b"/>
                  <a:pathLst>
                    <a:path w="15" h="5">
                      <a:moveTo>
                        <a:pt x="0" y="2"/>
                      </a:moveTo>
                      <a:cubicBezTo>
                        <a:pt x="0" y="3"/>
                        <a:pt x="1" y="4"/>
                        <a:pt x="2" y="5"/>
                      </a:cubicBezTo>
                      <a:cubicBezTo>
                        <a:pt x="5" y="4"/>
                        <a:pt x="9" y="3"/>
                        <a:pt x="13" y="3"/>
                      </a:cubicBezTo>
                      <a:cubicBezTo>
                        <a:pt x="14" y="3"/>
                        <a:pt x="14" y="3"/>
                        <a:pt x="15" y="3"/>
                      </a:cubicBezTo>
                      <a:cubicBezTo>
                        <a:pt x="14" y="2"/>
                        <a:pt x="13" y="1"/>
                        <a:pt x="12" y="0"/>
                      </a:cubicBezTo>
                      <a:cubicBezTo>
                        <a:pt x="8" y="0"/>
                        <a:pt x="4"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43" name="Freeform 135"/>
                <p:cNvSpPr>
                  <a:spLocks/>
                </p:cNvSpPr>
                <p:nvPr userDrawn="1"/>
              </p:nvSpPr>
              <p:spPr bwMode="auto">
                <a:xfrm>
                  <a:off x="-1966866" y="296377"/>
                  <a:ext cx="68398" cy="53199"/>
                </a:xfrm>
                <a:custGeom>
                  <a:avLst/>
                  <a:gdLst>
                    <a:gd name="T0" fmla="*/ 9 w 11"/>
                    <a:gd name="T1" fmla="*/ 0 h 8"/>
                    <a:gd name="T2" fmla="*/ 0 w 11"/>
                    <a:gd name="T3" fmla="*/ 4 h 8"/>
                    <a:gd name="T4" fmla="*/ 0 w 11"/>
                    <a:gd name="T5" fmla="*/ 8 h 8"/>
                    <a:gd name="T6" fmla="*/ 11 w 11"/>
                    <a:gd name="T7" fmla="*/ 2 h 8"/>
                    <a:gd name="T8" fmla="*/ 9 w 11"/>
                    <a:gd name="T9" fmla="*/ 0 h 8"/>
                  </a:gdLst>
                  <a:ahLst/>
                  <a:cxnLst>
                    <a:cxn ang="0">
                      <a:pos x="T0" y="T1"/>
                    </a:cxn>
                    <a:cxn ang="0">
                      <a:pos x="T2" y="T3"/>
                    </a:cxn>
                    <a:cxn ang="0">
                      <a:pos x="T4" y="T5"/>
                    </a:cxn>
                    <a:cxn ang="0">
                      <a:pos x="T6" y="T7"/>
                    </a:cxn>
                    <a:cxn ang="0">
                      <a:pos x="T8" y="T9"/>
                    </a:cxn>
                  </a:cxnLst>
                  <a:rect l="0" t="0" r="r" b="b"/>
                  <a:pathLst>
                    <a:path w="11" h="8">
                      <a:moveTo>
                        <a:pt x="9" y="0"/>
                      </a:moveTo>
                      <a:cubicBezTo>
                        <a:pt x="6" y="1"/>
                        <a:pt x="3" y="2"/>
                        <a:pt x="0" y="4"/>
                      </a:cubicBezTo>
                      <a:cubicBezTo>
                        <a:pt x="0" y="5"/>
                        <a:pt x="0" y="7"/>
                        <a:pt x="0" y="8"/>
                      </a:cubicBezTo>
                      <a:cubicBezTo>
                        <a:pt x="4" y="5"/>
                        <a:pt x="7" y="4"/>
                        <a:pt x="11" y="2"/>
                      </a:cubicBezTo>
                      <a:cubicBezTo>
                        <a:pt x="10" y="2"/>
                        <a:pt x="10" y="1"/>
                        <a:pt x="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44" name="Freeform 136"/>
                <p:cNvSpPr>
                  <a:spLocks/>
                </p:cNvSpPr>
                <p:nvPr userDrawn="1"/>
              </p:nvSpPr>
              <p:spPr bwMode="auto">
                <a:xfrm>
                  <a:off x="-2042861" y="326775"/>
                  <a:ext cx="75995" cy="60796"/>
                </a:xfrm>
                <a:custGeom>
                  <a:avLst/>
                  <a:gdLst>
                    <a:gd name="T0" fmla="*/ 12 w 13"/>
                    <a:gd name="T1" fmla="*/ 0 h 10"/>
                    <a:gd name="T2" fmla="*/ 0 w 13"/>
                    <a:gd name="T3" fmla="*/ 10 h 10"/>
                    <a:gd name="T4" fmla="*/ 6 w 13"/>
                    <a:gd name="T5" fmla="*/ 9 h 10"/>
                    <a:gd name="T6" fmla="*/ 13 w 13"/>
                    <a:gd name="T7" fmla="*/ 3 h 10"/>
                    <a:gd name="T8" fmla="*/ 12 w 13"/>
                    <a:gd name="T9" fmla="*/ 0 h 10"/>
                  </a:gdLst>
                  <a:ahLst/>
                  <a:cxnLst>
                    <a:cxn ang="0">
                      <a:pos x="T0" y="T1"/>
                    </a:cxn>
                    <a:cxn ang="0">
                      <a:pos x="T2" y="T3"/>
                    </a:cxn>
                    <a:cxn ang="0">
                      <a:pos x="T4" y="T5"/>
                    </a:cxn>
                    <a:cxn ang="0">
                      <a:pos x="T6" y="T7"/>
                    </a:cxn>
                    <a:cxn ang="0">
                      <a:pos x="T8" y="T9"/>
                    </a:cxn>
                  </a:cxnLst>
                  <a:rect l="0" t="0" r="r" b="b"/>
                  <a:pathLst>
                    <a:path w="13" h="10">
                      <a:moveTo>
                        <a:pt x="12" y="0"/>
                      </a:moveTo>
                      <a:cubicBezTo>
                        <a:pt x="8" y="3"/>
                        <a:pt x="4" y="6"/>
                        <a:pt x="0" y="10"/>
                      </a:cubicBezTo>
                      <a:cubicBezTo>
                        <a:pt x="2" y="10"/>
                        <a:pt x="4" y="9"/>
                        <a:pt x="6" y="9"/>
                      </a:cubicBezTo>
                      <a:cubicBezTo>
                        <a:pt x="8" y="7"/>
                        <a:pt x="10" y="5"/>
                        <a:pt x="13" y="3"/>
                      </a:cubicBezTo>
                      <a:cubicBezTo>
                        <a:pt x="12" y="2"/>
                        <a:pt x="12" y="1"/>
                        <a:pt x="1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45" name="Freeform 137"/>
                <p:cNvSpPr>
                  <a:spLocks/>
                </p:cNvSpPr>
                <p:nvPr userDrawn="1"/>
              </p:nvSpPr>
              <p:spPr bwMode="auto">
                <a:xfrm>
                  <a:off x="-2141656" y="395172"/>
                  <a:ext cx="121592" cy="372376"/>
                </a:xfrm>
                <a:custGeom>
                  <a:avLst/>
                  <a:gdLst>
                    <a:gd name="T0" fmla="*/ 3 w 21"/>
                    <a:gd name="T1" fmla="*/ 49 h 64"/>
                    <a:gd name="T2" fmla="*/ 3 w 21"/>
                    <a:gd name="T3" fmla="*/ 47 h 64"/>
                    <a:gd name="T4" fmla="*/ 13 w 21"/>
                    <a:gd name="T5" fmla="*/ 11 h 64"/>
                    <a:gd name="T6" fmla="*/ 14 w 21"/>
                    <a:gd name="T7" fmla="*/ 9 h 64"/>
                    <a:gd name="T8" fmla="*/ 21 w 21"/>
                    <a:gd name="T9" fmla="*/ 0 h 64"/>
                    <a:gd name="T10" fmla="*/ 15 w 21"/>
                    <a:gd name="T11" fmla="*/ 1 h 64"/>
                    <a:gd name="T12" fmla="*/ 12 w 21"/>
                    <a:gd name="T13" fmla="*/ 7 h 64"/>
                    <a:gd name="T14" fmla="*/ 11 w 21"/>
                    <a:gd name="T15" fmla="*/ 9 h 64"/>
                    <a:gd name="T16" fmla="*/ 0 w 21"/>
                    <a:gd name="T17" fmla="*/ 45 h 64"/>
                    <a:gd name="T18" fmla="*/ 0 w 21"/>
                    <a:gd name="T19" fmla="*/ 48 h 64"/>
                    <a:gd name="T20" fmla="*/ 0 w 21"/>
                    <a:gd name="T21" fmla="*/ 49 h 64"/>
                    <a:gd name="T22" fmla="*/ 1 w 21"/>
                    <a:gd name="T23" fmla="*/ 63 h 64"/>
                    <a:gd name="T24" fmla="*/ 5 w 21"/>
                    <a:gd name="T25" fmla="*/ 64 h 64"/>
                    <a:gd name="T26" fmla="*/ 3 w 21"/>
                    <a:gd name="T27" fmla="*/ 49 h 64"/>
                    <a:gd name="T28" fmla="*/ 3 w 21"/>
                    <a:gd name="T29" fmla="*/ 4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64">
                      <a:moveTo>
                        <a:pt x="3" y="49"/>
                      </a:moveTo>
                      <a:cubicBezTo>
                        <a:pt x="3" y="48"/>
                        <a:pt x="3" y="47"/>
                        <a:pt x="3" y="47"/>
                      </a:cubicBezTo>
                      <a:cubicBezTo>
                        <a:pt x="4" y="33"/>
                        <a:pt x="7" y="21"/>
                        <a:pt x="13" y="11"/>
                      </a:cubicBezTo>
                      <a:cubicBezTo>
                        <a:pt x="13" y="10"/>
                        <a:pt x="14" y="10"/>
                        <a:pt x="14" y="9"/>
                      </a:cubicBezTo>
                      <a:cubicBezTo>
                        <a:pt x="16" y="6"/>
                        <a:pt x="19" y="2"/>
                        <a:pt x="21" y="0"/>
                      </a:cubicBezTo>
                      <a:cubicBezTo>
                        <a:pt x="19" y="0"/>
                        <a:pt x="17" y="1"/>
                        <a:pt x="15" y="1"/>
                      </a:cubicBezTo>
                      <a:cubicBezTo>
                        <a:pt x="14" y="3"/>
                        <a:pt x="13" y="5"/>
                        <a:pt x="12" y="7"/>
                      </a:cubicBezTo>
                      <a:cubicBezTo>
                        <a:pt x="11" y="7"/>
                        <a:pt x="11" y="8"/>
                        <a:pt x="11" y="9"/>
                      </a:cubicBezTo>
                      <a:cubicBezTo>
                        <a:pt x="5" y="19"/>
                        <a:pt x="1" y="32"/>
                        <a:pt x="0" y="45"/>
                      </a:cubicBezTo>
                      <a:cubicBezTo>
                        <a:pt x="0" y="46"/>
                        <a:pt x="0" y="47"/>
                        <a:pt x="0" y="48"/>
                      </a:cubicBezTo>
                      <a:cubicBezTo>
                        <a:pt x="0" y="48"/>
                        <a:pt x="0" y="48"/>
                        <a:pt x="0" y="49"/>
                      </a:cubicBezTo>
                      <a:cubicBezTo>
                        <a:pt x="0" y="54"/>
                        <a:pt x="1" y="58"/>
                        <a:pt x="1" y="63"/>
                      </a:cubicBezTo>
                      <a:cubicBezTo>
                        <a:pt x="3" y="63"/>
                        <a:pt x="4" y="64"/>
                        <a:pt x="5" y="64"/>
                      </a:cubicBezTo>
                      <a:cubicBezTo>
                        <a:pt x="4" y="59"/>
                        <a:pt x="4" y="55"/>
                        <a:pt x="3" y="49"/>
                      </a:cubicBezTo>
                      <a:cubicBezTo>
                        <a:pt x="3" y="49"/>
                        <a:pt x="3" y="49"/>
                        <a:pt x="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46" name="Freeform 138"/>
                <p:cNvSpPr>
                  <a:spLocks/>
                </p:cNvSpPr>
                <p:nvPr userDrawn="1"/>
              </p:nvSpPr>
              <p:spPr bwMode="auto">
                <a:xfrm>
                  <a:off x="-2035264" y="197586"/>
                  <a:ext cx="15199" cy="7602"/>
                </a:xfrm>
                <a:custGeom>
                  <a:avLst/>
                  <a:gdLst>
                    <a:gd name="T0" fmla="*/ 2 w 3"/>
                    <a:gd name="T1" fmla="*/ 0 h 1"/>
                    <a:gd name="T2" fmla="*/ 0 w 3"/>
                    <a:gd name="T3" fmla="*/ 0 h 1"/>
                    <a:gd name="T4" fmla="*/ 3 w 3"/>
                    <a:gd name="T5" fmla="*/ 1 h 1"/>
                    <a:gd name="T6" fmla="*/ 2 w 3"/>
                    <a:gd name="T7" fmla="*/ 0 h 1"/>
                  </a:gdLst>
                  <a:ahLst/>
                  <a:cxnLst>
                    <a:cxn ang="0">
                      <a:pos x="T0" y="T1"/>
                    </a:cxn>
                    <a:cxn ang="0">
                      <a:pos x="T2" y="T3"/>
                    </a:cxn>
                    <a:cxn ang="0">
                      <a:pos x="T4" y="T5"/>
                    </a:cxn>
                    <a:cxn ang="0">
                      <a:pos x="T6" y="T7"/>
                    </a:cxn>
                  </a:cxnLst>
                  <a:rect l="0" t="0" r="r" b="b"/>
                  <a:pathLst>
                    <a:path w="3" h="1">
                      <a:moveTo>
                        <a:pt x="2" y="0"/>
                      </a:moveTo>
                      <a:cubicBezTo>
                        <a:pt x="1" y="0"/>
                        <a:pt x="1" y="0"/>
                        <a:pt x="0" y="0"/>
                      </a:cubicBezTo>
                      <a:cubicBezTo>
                        <a:pt x="1" y="0"/>
                        <a:pt x="2" y="1"/>
                        <a:pt x="3" y="1"/>
                      </a:cubicBezTo>
                      <a:cubicBezTo>
                        <a:pt x="2" y="1"/>
                        <a:pt x="2" y="0"/>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47" name="Freeform 139"/>
                <p:cNvSpPr>
                  <a:spLocks/>
                </p:cNvSpPr>
                <p:nvPr userDrawn="1"/>
              </p:nvSpPr>
              <p:spPr bwMode="auto">
                <a:xfrm>
                  <a:off x="-2020065" y="197586"/>
                  <a:ext cx="182387" cy="189989"/>
                </a:xfrm>
                <a:custGeom>
                  <a:avLst/>
                  <a:gdLst>
                    <a:gd name="T0" fmla="*/ 13 w 31"/>
                    <a:gd name="T1" fmla="*/ 13 h 33"/>
                    <a:gd name="T2" fmla="*/ 15 w 31"/>
                    <a:gd name="T3" fmla="*/ 14 h 33"/>
                    <a:gd name="T4" fmla="*/ 18 w 31"/>
                    <a:gd name="T5" fmla="*/ 18 h 33"/>
                    <a:gd name="T6" fmla="*/ 20 w 31"/>
                    <a:gd name="T7" fmla="*/ 20 h 33"/>
                    <a:gd name="T8" fmla="*/ 27 w 31"/>
                    <a:gd name="T9" fmla="*/ 32 h 33"/>
                    <a:gd name="T10" fmla="*/ 31 w 31"/>
                    <a:gd name="T11" fmla="*/ 33 h 33"/>
                    <a:gd name="T12" fmla="*/ 23 w 31"/>
                    <a:gd name="T13" fmla="*/ 20 h 33"/>
                    <a:gd name="T14" fmla="*/ 21 w 31"/>
                    <a:gd name="T15" fmla="*/ 17 h 33"/>
                    <a:gd name="T16" fmla="*/ 17 w 31"/>
                    <a:gd name="T17" fmla="*/ 12 h 33"/>
                    <a:gd name="T18" fmla="*/ 15 w 31"/>
                    <a:gd name="T19" fmla="*/ 11 h 33"/>
                    <a:gd name="T20" fmla="*/ 3 w 31"/>
                    <a:gd name="T21" fmla="*/ 0 h 33"/>
                    <a:gd name="T22" fmla="*/ 0 w 31"/>
                    <a:gd name="T23" fmla="*/ 0 h 33"/>
                    <a:gd name="T24" fmla="*/ 1 w 31"/>
                    <a:gd name="T25" fmla="*/ 3 h 33"/>
                    <a:gd name="T26" fmla="*/ 13 w 31"/>
                    <a:gd name="T27" fmla="*/ 1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3">
                      <a:moveTo>
                        <a:pt x="13" y="13"/>
                      </a:moveTo>
                      <a:cubicBezTo>
                        <a:pt x="14" y="13"/>
                        <a:pt x="14" y="14"/>
                        <a:pt x="15" y="14"/>
                      </a:cubicBezTo>
                      <a:cubicBezTo>
                        <a:pt x="16" y="15"/>
                        <a:pt x="17" y="17"/>
                        <a:pt x="18" y="18"/>
                      </a:cubicBezTo>
                      <a:cubicBezTo>
                        <a:pt x="19" y="19"/>
                        <a:pt x="19" y="20"/>
                        <a:pt x="20" y="20"/>
                      </a:cubicBezTo>
                      <a:cubicBezTo>
                        <a:pt x="23" y="24"/>
                        <a:pt x="25" y="28"/>
                        <a:pt x="27" y="32"/>
                      </a:cubicBezTo>
                      <a:cubicBezTo>
                        <a:pt x="28" y="32"/>
                        <a:pt x="29" y="32"/>
                        <a:pt x="31" y="33"/>
                      </a:cubicBezTo>
                      <a:cubicBezTo>
                        <a:pt x="28" y="28"/>
                        <a:pt x="26" y="24"/>
                        <a:pt x="23" y="20"/>
                      </a:cubicBezTo>
                      <a:cubicBezTo>
                        <a:pt x="22" y="19"/>
                        <a:pt x="21" y="18"/>
                        <a:pt x="21" y="17"/>
                      </a:cubicBezTo>
                      <a:cubicBezTo>
                        <a:pt x="19" y="15"/>
                        <a:pt x="18" y="14"/>
                        <a:pt x="17" y="12"/>
                      </a:cubicBezTo>
                      <a:cubicBezTo>
                        <a:pt x="16" y="12"/>
                        <a:pt x="16" y="11"/>
                        <a:pt x="15" y="11"/>
                      </a:cubicBezTo>
                      <a:cubicBezTo>
                        <a:pt x="11" y="7"/>
                        <a:pt x="7" y="3"/>
                        <a:pt x="3" y="0"/>
                      </a:cubicBezTo>
                      <a:cubicBezTo>
                        <a:pt x="2" y="0"/>
                        <a:pt x="1" y="0"/>
                        <a:pt x="0" y="0"/>
                      </a:cubicBezTo>
                      <a:cubicBezTo>
                        <a:pt x="1" y="1"/>
                        <a:pt x="1" y="2"/>
                        <a:pt x="1" y="3"/>
                      </a:cubicBezTo>
                      <a:cubicBezTo>
                        <a:pt x="6" y="6"/>
                        <a:pt x="10" y="9"/>
                        <a:pt x="13"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48" name="Freeform 140"/>
                <p:cNvSpPr>
                  <a:spLocks/>
                </p:cNvSpPr>
                <p:nvPr userDrawn="1"/>
              </p:nvSpPr>
              <p:spPr bwMode="auto">
                <a:xfrm>
                  <a:off x="-1852877" y="395172"/>
                  <a:ext cx="53199" cy="296382"/>
                </a:xfrm>
                <a:custGeom>
                  <a:avLst/>
                  <a:gdLst>
                    <a:gd name="T0" fmla="*/ 10 w 10"/>
                    <a:gd name="T1" fmla="*/ 33 h 52"/>
                    <a:gd name="T2" fmla="*/ 10 w 10"/>
                    <a:gd name="T3" fmla="*/ 32 h 52"/>
                    <a:gd name="T4" fmla="*/ 4 w 10"/>
                    <a:gd name="T5" fmla="*/ 1 h 52"/>
                    <a:gd name="T6" fmla="*/ 0 w 10"/>
                    <a:gd name="T7" fmla="*/ 0 h 52"/>
                    <a:gd name="T8" fmla="*/ 8 w 10"/>
                    <a:gd name="T9" fmla="*/ 32 h 52"/>
                    <a:gd name="T10" fmla="*/ 8 w 10"/>
                    <a:gd name="T11" fmla="*/ 32 h 52"/>
                    <a:gd name="T12" fmla="*/ 8 w 10"/>
                    <a:gd name="T13" fmla="*/ 34 h 52"/>
                    <a:gd name="T14" fmla="*/ 5 w 10"/>
                    <a:gd name="T15" fmla="*/ 52 h 52"/>
                    <a:gd name="T16" fmla="*/ 5 w 10"/>
                    <a:gd name="T17" fmla="*/ 52 h 52"/>
                    <a:gd name="T18" fmla="*/ 9 w 10"/>
                    <a:gd name="T19" fmla="*/ 48 h 52"/>
                    <a:gd name="T20" fmla="*/ 10 w 10"/>
                    <a:gd name="T21" fmla="*/ 35 h 52"/>
                    <a:gd name="T22" fmla="*/ 10 w 10"/>
                    <a:gd name="T23" fmla="*/ 3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52">
                      <a:moveTo>
                        <a:pt x="10" y="33"/>
                      </a:moveTo>
                      <a:cubicBezTo>
                        <a:pt x="10" y="32"/>
                        <a:pt x="10" y="32"/>
                        <a:pt x="10" y="32"/>
                      </a:cubicBezTo>
                      <a:cubicBezTo>
                        <a:pt x="10" y="21"/>
                        <a:pt x="8" y="11"/>
                        <a:pt x="4" y="1"/>
                      </a:cubicBezTo>
                      <a:cubicBezTo>
                        <a:pt x="3" y="1"/>
                        <a:pt x="2" y="0"/>
                        <a:pt x="0" y="0"/>
                      </a:cubicBezTo>
                      <a:cubicBezTo>
                        <a:pt x="5" y="10"/>
                        <a:pt x="8" y="21"/>
                        <a:pt x="8" y="32"/>
                      </a:cubicBezTo>
                      <a:cubicBezTo>
                        <a:pt x="8" y="32"/>
                        <a:pt x="8" y="32"/>
                        <a:pt x="8" y="32"/>
                      </a:cubicBezTo>
                      <a:cubicBezTo>
                        <a:pt x="8" y="33"/>
                        <a:pt x="8" y="34"/>
                        <a:pt x="8" y="34"/>
                      </a:cubicBezTo>
                      <a:cubicBezTo>
                        <a:pt x="7" y="40"/>
                        <a:pt x="6" y="46"/>
                        <a:pt x="5" y="52"/>
                      </a:cubicBezTo>
                      <a:cubicBezTo>
                        <a:pt x="5" y="52"/>
                        <a:pt x="5" y="52"/>
                        <a:pt x="5" y="52"/>
                      </a:cubicBezTo>
                      <a:cubicBezTo>
                        <a:pt x="6" y="51"/>
                        <a:pt x="8" y="49"/>
                        <a:pt x="9" y="48"/>
                      </a:cubicBezTo>
                      <a:cubicBezTo>
                        <a:pt x="10" y="43"/>
                        <a:pt x="10" y="39"/>
                        <a:pt x="10" y="35"/>
                      </a:cubicBezTo>
                      <a:cubicBezTo>
                        <a:pt x="10" y="34"/>
                        <a:pt x="10" y="33"/>
                        <a:pt x="10"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49" name="Freeform 141"/>
                <p:cNvSpPr>
                  <a:spLocks/>
                </p:cNvSpPr>
                <p:nvPr userDrawn="1"/>
              </p:nvSpPr>
              <p:spPr bwMode="auto">
                <a:xfrm>
                  <a:off x="-2020065" y="197586"/>
                  <a:ext cx="60796" cy="174790"/>
                </a:xfrm>
                <a:custGeom>
                  <a:avLst/>
                  <a:gdLst>
                    <a:gd name="T0" fmla="*/ 7 w 11"/>
                    <a:gd name="T1" fmla="*/ 18 h 31"/>
                    <a:gd name="T2" fmla="*/ 8 w 11"/>
                    <a:gd name="T3" fmla="*/ 20 h 31"/>
                    <a:gd name="T4" fmla="*/ 9 w 11"/>
                    <a:gd name="T5" fmla="*/ 23 h 31"/>
                    <a:gd name="T6" fmla="*/ 10 w 11"/>
                    <a:gd name="T7" fmla="*/ 26 h 31"/>
                    <a:gd name="T8" fmla="*/ 10 w 11"/>
                    <a:gd name="T9" fmla="*/ 31 h 31"/>
                    <a:gd name="T10" fmla="*/ 11 w 11"/>
                    <a:gd name="T11" fmla="*/ 31 h 31"/>
                    <a:gd name="T12" fmla="*/ 10 w 11"/>
                    <a:gd name="T13" fmla="*/ 26 h 31"/>
                    <a:gd name="T14" fmla="*/ 10 w 11"/>
                    <a:gd name="T15" fmla="*/ 22 h 31"/>
                    <a:gd name="T16" fmla="*/ 9 w 11"/>
                    <a:gd name="T17" fmla="*/ 19 h 31"/>
                    <a:gd name="T18" fmla="*/ 8 w 11"/>
                    <a:gd name="T19" fmla="*/ 17 h 31"/>
                    <a:gd name="T20" fmla="*/ 2 w 11"/>
                    <a:gd name="T21" fmla="*/ 3 h 31"/>
                    <a:gd name="T22" fmla="*/ 1 w 11"/>
                    <a:gd name="T23" fmla="*/ 0 h 31"/>
                    <a:gd name="T24" fmla="*/ 0 w 11"/>
                    <a:gd name="T25" fmla="*/ 0 h 31"/>
                    <a:gd name="T26" fmla="*/ 1 w 11"/>
                    <a:gd name="T27" fmla="*/ 1 h 31"/>
                    <a:gd name="T28" fmla="*/ 7 w 11"/>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1">
                      <a:moveTo>
                        <a:pt x="7" y="18"/>
                      </a:moveTo>
                      <a:cubicBezTo>
                        <a:pt x="8" y="18"/>
                        <a:pt x="8" y="19"/>
                        <a:pt x="8" y="20"/>
                      </a:cubicBezTo>
                      <a:cubicBezTo>
                        <a:pt x="8" y="21"/>
                        <a:pt x="9" y="22"/>
                        <a:pt x="9" y="23"/>
                      </a:cubicBezTo>
                      <a:cubicBezTo>
                        <a:pt x="9" y="24"/>
                        <a:pt x="9" y="25"/>
                        <a:pt x="10" y="26"/>
                      </a:cubicBezTo>
                      <a:cubicBezTo>
                        <a:pt x="10" y="28"/>
                        <a:pt x="10" y="29"/>
                        <a:pt x="10" y="31"/>
                      </a:cubicBezTo>
                      <a:cubicBezTo>
                        <a:pt x="11" y="31"/>
                        <a:pt x="11" y="31"/>
                        <a:pt x="11" y="31"/>
                      </a:cubicBezTo>
                      <a:cubicBezTo>
                        <a:pt x="11" y="29"/>
                        <a:pt x="11" y="27"/>
                        <a:pt x="10" y="26"/>
                      </a:cubicBezTo>
                      <a:cubicBezTo>
                        <a:pt x="10" y="25"/>
                        <a:pt x="10" y="23"/>
                        <a:pt x="10" y="22"/>
                      </a:cubicBezTo>
                      <a:cubicBezTo>
                        <a:pt x="9" y="21"/>
                        <a:pt x="9" y="20"/>
                        <a:pt x="9" y="19"/>
                      </a:cubicBezTo>
                      <a:cubicBezTo>
                        <a:pt x="9" y="19"/>
                        <a:pt x="8" y="18"/>
                        <a:pt x="8" y="17"/>
                      </a:cubicBezTo>
                      <a:cubicBezTo>
                        <a:pt x="7" y="12"/>
                        <a:pt x="5" y="7"/>
                        <a:pt x="2" y="3"/>
                      </a:cubicBezTo>
                      <a:cubicBezTo>
                        <a:pt x="2" y="2"/>
                        <a:pt x="2" y="1"/>
                        <a:pt x="1" y="0"/>
                      </a:cubicBezTo>
                      <a:cubicBezTo>
                        <a:pt x="1" y="0"/>
                        <a:pt x="0" y="0"/>
                        <a:pt x="0" y="0"/>
                      </a:cubicBezTo>
                      <a:cubicBezTo>
                        <a:pt x="0" y="0"/>
                        <a:pt x="0" y="1"/>
                        <a:pt x="1" y="1"/>
                      </a:cubicBezTo>
                      <a:cubicBezTo>
                        <a:pt x="3" y="7"/>
                        <a:pt x="6" y="12"/>
                        <a:pt x="7"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50" name="Freeform 142"/>
                <p:cNvSpPr>
                  <a:spLocks/>
                </p:cNvSpPr>
                <p:nvPr userDrawn="1"/>
              </p:nvSpPr>
              <p:spPr bwMode="auto">
                <a:xfrm>
                  <a:off x="-2058060" y="387571"/>
                  <a:ext cx="113994" cy="395172"/>
                </a:xfrm>
                <a:custGeom>
                  <a:avLst/>
                  <a:gdLst>
                    <a:gd name="T0" fmla="*/ 10 w 19"/>
                    <a:gd name="T1" fmla="*/ 54 h 68"/>
                    <a:gd name="T2" fmla="*/ 17 w 19"/>
                    <a:gd name="T3" fmla="*/ 28 h 68"/>
                    <a:gd name="T4" fmla="*/ 18 w 19"/>
                    <a:gd name="T5" fmla="*/ 26 h 68"/>
                    <a:gd name="T6" fmla="*/ 19 w 19"/>
                    <a:gd name="T7" fmla="*/ 13 h 68"/>
                    <a:gd name="T8" fmla="*/ 18 w 19"/>
                    <a:gd name="T9" fmla="*/ 0 h 68"/>
                    <a:gd name="T10" fmla="*/ 17 w 19"/>
                    <a:gd name="T11" fmla="*/ 0 h 68"/>
                    <a:gd name="T12" fmla="*/ 18 w 19"/>
                    <a:gd name="T13" fmla="*/ 13 h 68"/>
                    <a:gd name="T14" fmla="*/ 17 w 19"/>
                    <a:gd name="T15" fmla="*/ 25 h 68"/>
                    <a:gd name="T16" fmla="*/ 16 w 19"/>
                    <a:gd name="T17" fmla="*/ 27 h 68"/>
                    <a:gd name="T18" fmla="*/ 9 w 19"/>
                    <a:gd name="T19" fmla="*/ 53 h 68"/>
                    <a:gd name="T20" fmla="*/ 7 w 19"/>
                    <a:gd name="T21" fmla="*/ 56 h 68"/>
                    <a:gd name="T22" fmla="*/ 0 w 19"/>
                    <a:gd name="T23" fmla="*/ 68 h 68"/>
                    <a:gd name="T24" fmla="*/ 1 w 19"/>
                    <a:gd name="T25" fmla="*/ 68 h 68"/>
                    <a:gd name="T26" fmla="*/ 8 w 19"/>
                    <a:gd name="T27" fmla="*/ 56 h 68"/>
                    <a:gd name="T28" fmla="*/ 10 w 19"/>
                    <a:gd name="T29" fmla="*/ 5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68">
                      <a:moveTo>
                        <a:pt x="10" y="54"/>
                      </a:moveTo>
                      <a:cubicBezTo>
                        <a:pt x="13" y="46"/>
                        <a:pt x="16" y="37"/>
                        <a:pt x="17" y="28"/>
                      </a:cubicBezTo>
                      <a:cubicBezTo>
                        <a:pt x="18" y="27"/>
                        <a:pt x="18" y="26"/>
                        <a:pt x="18" y="26"/>
                      </a:cubicBezTo>
                      <a:cubicBezTo>
                        <a:pt x="18" y="22"/>
                        <a:pt x="19" y="17"/>
                        <a:pt x="19" y="13"/>
                      </a:cubicBezTo>
                      <a:cubicBezTo>
                        <a:pt x="19" y="8"/>
                        <a:pt x="18" y="4"/>
                        <a:pt x="18" y="0"/>
                      </a:cubicBezTo>
                      <a:cubicBezTo>
                        <a:pt x="17" y="0"/>
                        <a:pt x="17" y="0"/>
                        <a:pt x="17" y="0"/>
                      </a:cubicBezTo>
                      <a:cubicBezTo>
                        <a:pt x="17" y="4"/>
                        <a:pt x="18" y="8"/>
                        <a:pt x="18" y="13"/>
                      </a:cubicBezTo>
                      <a:cubicBezTo>
                        <a:pt x="18" y="17"/>
                        <a:pt x="17" y="21"/>
                        <a:pt x="17" y="25"/>
                      </a:cubicBezTo>
                      <a:cubicBezTo>
                        <a:pt x="17" y="26"/>
                        <a:pt x="17" y="27"/>
                        <a:pt x="16" y="27"/>
                      </a:cubicBezTo>
                      <a:cubicBezTo>
                        <a:pt x="15" y="37"/>
                        <a:pt x="12" y="45"/>
                        <a:pt x="9" y="53"/>
                      </a:cubicBezTo>
                      <a:cubicBezTo>
                        <a:pt x="8" y="54"/>
                        <a:pt x="8" y="55"/>
                        <a:pt x="7" y="56"/>
                      </a:cubicBezTo>
                      <a:cubicBezTo>
                        <a:pt x="5" y="60"/>
                        <a:pt x="3" y="64"/>
                        <a:pt x="0" y="68"/>
                      </a:cubicBezTo>
                      <a:cubicBezTo>
                        <a:pt x="0" y="68"/>
                        <a:pt x="1" y="68"/>
                        <a:pt x="1" y="68"/>
                      </a:cubicBezTo>
                      <a:cubicBezTo>
                        <a:pt x="4" y="64"/>
                        <a:pt x="6" y="60"/>
                        <a:pt x="8" y="56"/>
                      </a:cubicBezTo>
                      <a:cubicBezTo>
                        <a:pt x="9" y="55"/>
                        <a:pt x="9" y="54"/>
                        <a:pt x="10"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51" name="Freeform 143"/>
                <p:cNvSpPr>
                  <a:spLocks/>
                </p:cNvSpPr>
                <p:nvPr userDrawn="1"/>
              </p:nvSpPr>
              <p:spPr bwMode="auto">
                <a:xfrm>
                  <a:off x="-2286044" y="372372"/>
                  <a:ext cx="539565" cy="281183"/>
                </a:xfrm>
                <a:custGeom>
                  <a:avLst/>
                  <a:gdLst>
                    <a:gd name="T0" fmla="*/ 73 w 93"/>
                    <a:gd name="T1" fmla="*/ 2 h 49"/>
                    <a:gd name="T2" fmla="*/ 61 w 93"/>
                    <a:gd name="T3" fmla="*/ 0 h 49"/>
                    <a:gd name="T4" fmla="*/ 56 w 93"/>
                    <a:gd name="T5" fmla="*/ 1 h 49"/>
                    <a:gd name="T6" fmla="*/ 55 w 93"/>
                    <a:gd name="T7" fmla="*/ 1 h 49"/>
                    <a:gd name="T8" fmla="*/ 48 w 93"/>
                    <a:gd name="T9" fmla="*/ 2 h 49"/>
                    <a:gd name="T10" fmla="*/ 42 w 93"/>
                    <a:gd name="T11" fmla="*/ 3 h 49"/>
                    <a:gd name="T12" fmla="*/ 33 w 93"/>
                    <a:gd name="T13" fmla="*/ 7 h 49"/>
                    <a:gd name="T14" fmla="*/ 31 w 93"/>
                    <a:gd name="T15" fmla="*/ 8 h 49"/>
                    <a:gd name="T16" fmla="*/ 3 w 93"/>
                    <a:gd name="T17" fmla="*/ 39 h 49"/>
                    <a:gd name="T18" fmla="*/ 2 w 93"/>
                    <a:gd name="T19" fmla="*/ 41 h 49"/>
                    <a:gd name="T20" fmla="*/ 0 w 93"/>
                    <a:gd name="T21" fmla="*/ 47 h 49"/>
                    <a:gd name="T22" fmla="*/ 1 w 93"/>
                    <a:gd name="T23" fmla="*/ 49 h 49"/>
                    <a:gd name="T24" fmla="*/ 4 w 93"/>
                    <a:gd name="T25" fmla="*/ 42 h 49"/>
                    <a:gd name="T26" fmla="*/ 5 w 93"/>
                    <a:gd name="T27" fmla="*/ 40 h 49"/>
                    <a:gd name="T28" fmla="*/ 32 w 93"/>
                    <a:gd name="T29" fmla="*/ 10 h 49"/>
                    <a:gd name="T30" fmla="*/ 34 w 93"/>
                    <a:gd name="T31" fmla="*/ 9 h 49"/>
                    <a:gd name="T32" fmla="*/ 39 w 93"/>
                    <a:gd name="T33" fmla="*/ 6 h 49"/>
                    <a:gd name="T34" fmla="*/ 45 w 93"/>
                    <a:gd name="T35" fmla="*/ 5 h 49"/>
                    <a:gd name="T36" fmla="*/ 56 w 93"/>
                    <a:gd name="T37" fmla="*/ 3 h 49"/>
                    <a:gd name="T38" fmla="*/ 57 w 93"/>
                    <a:gd name="T39" fmla="*/ 3 h 49"/>
                    <a:gd name="T40" fmla="*/ 61 w 93"/>
                    <a:gd name="T41" fmla="*/ 2 h 49"/>
                    <a:gd name="T42" fmla="*/ 74 w 93"/>
                    <a:gd name="T43" fmla="*/ 4 h 49"/>
                    <a:gd name="T44" fmla="*/ 78 w 93"/>
                    <a:gd name="T45" fmla="*/ 5 h 49"/>
                    <a:gd name="T46" fmla="*/ 93 w 93"/>
                    <a:gd name="T47" fmla="*/ 12 h 49"/>
                    <a:gd name="T48" fmla="*/ 92 w 93"/>
                    <a:gd name="T49" fmla="*/ 9 h 49"/>
                    <a:gd name="T50" fmla="*/ 77 w 93"/>
                    <a:gd name="T51" fmla="*/ 3 h 49"/>
                    <a:gd name="T52" fmla="*/ 73 w 93"/>
                    <a:gd name="T53"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49">
                      <a:moveTo>
                        <a:pt x="73" y="2"/>
                      </a:moveTo>
                      <a:cubicBezTo>
                        <a:pt x="69" y="1"/>
                        <a:pt x="65" y="0"/>
                        <a:pt x="61" y="0"/>
                      </a:cubicBezTo>
                      <a:cubicBezTo>
                        <a:pt x="59" y="0"/>
                        <a:pt x="58" y="0"/>
                        <a:pt x="56" y="1"/>
                      </a:cubicBezTo>
                      <a:cubicBezTo>
                        <a:pt x="56" y="1"/>
                        <a:pt x="56" y="1"/>
                        <a:pt x="55" y="1"/>
                      </a:cubicBezTo>
                      <a:cubicBezTo>
                        <a:pt x="53" y="1"/>
                        <a:pt x="50" y="1"/>
                        <a:pt x="48" y="2"/>
                      </a:cubicBezTo>
                      <a:cubicBezTo>
                        <a:pt x="46" y="2"/>
                        <a:pt x="44" y="3"/>
                        <a:pt x="42" y="3"/>
                      </a:cubicBezTo>
                      <a:cubicBezTo>
                        <a:pt x="39" y="4"/>
                        <a:pt x="36" y="6"/>
                        <a:pt x="33" y="7"/>
                      </a:cubicBezTo>
                      <a:cubicBezTo>
                        <a:pt x="32" y="8"/>
                        <a:pt x="31" y="8"/>
                        <a:pt x="31" y="8"/>
                      </a:cubicBezTo>
                      <a:cubicBezTo>
                        <a:pt x="19" y="15"/>
                        <a:pt x="9" y="26"/>
                        <a:pt x="3" y="39"/>
                      </a:cubicBezTo>
                      <a:cubicBezTo>
                        <a:pt x="3" y="39"/>
                        <a:pt x="2" y="40"/>
                        <a:pt x="2" y="41"/>
                      </a:cubicBezTo>
                      <a:cubicBezTo>
                        <a:pt x="1" y="43"/>
                        <a:pt x="0" y="45"/>
                        <a:pt x="0" y="47"/>
                      </a:cubicBezTo>
                      <a:cubicBezTo>
                        <a:pt x="0" y="48"/>
                        <a:pt x="1" y="48"/>
                        <a:pt x="1" y="49"/>
                      </a:cubicBezTo>
                      <a:cubicBezTo>
                        <a:pt x="2" y="47"/>
                        <a:pt x="3" y="45"/>
                        <a:pt x="4" y="42"/>
                      </a:cubicBezTo>
                      <a:cubicBezTo>
                        <a:pt x="4" y="41"/>
                        <a:pt x="4" y="41"/>
                        <a:pt x="5" y="40"/>
                      </a:cubicBezTo>
                      <a:cubicBezTo>
                        <a:pt x="10" y="27"/>
                        <a:pt x="20" y="16"/>
                        <a:pt x="32" y="10"/>
                      </a:cubicBezTo>
                      <a:cubicBezTo>
                        <a:pt x="32" y="10"/>
                        <a:pt x="33" y="9"/>
                        <a:pt x="34" y="9"/>
                      </a:cubicBezTo>
                      <a:cubicBezTo>
                        <a:pt x="36" y="8"/>
                        <a:pt x="38" y="7"/>
                        <a:pt x="39" y="6"/>
                      </a:cubicBezTo>
                      <a:cubicBezTo>
                        <a:pt x="41" y="6"/>
                        <a:pt x="43" y="5"/>
                        <a:pt x="45" y="5"/>
                      </a:cubicBezTo>
                      <a:cubicBezTo>
                        <a:pt x="49" y="4"/>
                        <a:pt x="52" y="3"/>
                        <a:pt x="56" y="3"/>
                      </a:cubicBezTo>
                      <a:cubicBezTo>
                        <a:pt x="56" y="3"/>
                        <a:pt x="56" y="3"/>
                        <a:pt x="57" y="3"/>
                      </a:cubicBezTo>
                      <a:cubicBezTo>
                        <a:pt x="58" y="3"/>
                        <a:pt x="59" y="2"/>
                        <a:pt x="61" y="2"/>
                      </a:cubicBezTo>
                      <a:cubicBezTo>
                        <a:pt x="65" y="2"/>
                        <a:pt x="70" y="3"/>
                        <a:pt x="74" y="4"/>
                      </a:cubicBezTo>
                      <a:cubicBezTo>
                        <a:pt x="76" y="4"/>
                        <a:pt x="77" y="5"/>
                        <a:pt x="78" y="5"/>
                      </a:cubicBezTo>
                      <a:cubicBezTo>
                        <a:pt x="83" y="7"/>
                        <a:pt x="88" y="9"/>
                        <a:pt x="93" y="12"/>
                      </a:cubicBezTo>
                      <a:cubicBezTo>
                        <a:pt x="93" y="11"/>
                        <a:pt x="92" y="10"/>
                        <a:pt x="92" y="9"/>
                      </a:cubicBezTo>
                      <a:cubicBezTo>
                        <a:pt x="87" y="6"/>
                        <a:pt x="82" y="4"/>
                        <a:pt x="77" y="3"/>
                      </a:cubicBezTo>
                      <a:cubicBezTo>
                        <a:pt x="75" y="2"/>
                        <a:pt x="74" y="2"/>
                        <a:pt x="7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52" name="Freeform 144"/>
                <p:cNvSpPr>
                  <a:spLocks noEditPoints="1"/>
                </p:cNvSpPr>
                <p:nvPr userDrawn="1"/>
              </p:nvSpPr>
              <p:spPr bwMode="auto">
                <a:xfrm>
                  <a:off x="-2369641" y="151989"/>
                  <a:ext cx="668753" cy="668753"/>
                </a:xfrm>
                <a:custGeom>
                  <a:avLst/>
                  <a:gdLst>
                    <a:gd name="T0" fmla="*/ 85 w 116"/>
                    <a:gd name="T1" fmla="*/ 7 h 115"/>
                    <a:gd name="T2" fmla="*/ 57 w 116"/>
                    <a:gd name="T3" fmla="*/ 0 h 115"/>
                    <a:gd name="T4" fmla="*/ 51 w 116"/>
                    <a:gd name="T5" fmla="*/ 0 h 115"/>
                    <a:gd name="T6" fmla="*/ 37 w 116"/>
                    <a:gd name="T7" fmla="*/ 4 h 115"/>
                    <a:gd name="T8" fmla="*/ 5 w 116"/>
                    <a:gd name="T9" fmla="*/ 34 h 115"/>
                    <a:gd name="T10" fmla="*/ 0 w 116"/>
                    <a:gd name="T11" fmla="*/ 57 h 115"/>
                    <a:gd name="T12" fmla="*/ 0 w 116"/>
                    <a:gd name="T13" fmla="*/ 62 h 115"/>
                    <a:gd name="T14" fmla="*/ 14 w 116"/>
                    <a:gd name="T15" fmla="*/ 96 h 115"/>
                    <a:gd name="T16" fmla="*/ 46 w 116"/>
                    <a:gd name="T17" fmla="*/ 114 h 115"/>
                    <a:gd name="T18" fmla="*/ 50 w 116"/>
                    <a:gd name="T19" fmla="*/ 115 h 115"/>
                    <a:gd name="T20" fmla="*/ 89 w 116"/>
                    <a:gd name="T21" fmla="*/ 106 h 115"/>
                    <a:gd name="T22" fmla="*/ 103 w 116"/>
                    <a:gd name="T23" fmla="*/ 94 h 115"/>
                    <a:gd name="T24" fmla="*/ 113 w 116"/>
                    <a:gd name="T25" fmla="*/ 75 h 115"/>
                    <a:gd name="T26" fmla="*/ 116 w 116"/>
                    <a:gd name="T27" fmla="*/ 58 h 115"/>
                    <a:gd name="T28" fmla="*/ 115 w 116"/>
                    <a:gd name="T29" fmla="*/ 52 h 115"/>
                    <a:gd name="T30" fmla="*/ 104 w 116"/>
                    <a:gd name="T31" fmla="*/ 23 h 115"/>
                    <a:gd name="T32" fmla="*/ 107 w 116"/>
                    <a:gd name="T33" fmla="*/ 46 h 115"/>
                    <a:gd name="T34" fmla="*/ 109 w 116"/>
                    <a:gd name="T35" fmla="*/ 58 h 115"/>
                    <a:gd name="T36" fmla="*/ 105 w 116"/>
                    <a:gd name="T37" fmla="*/ 76 h 115"/>
                    <a:gd name="T38" fmla="*/ 94 w 116"/>
                    <a:gd name="T39" fmla="*/ 93 h 115"/>
                    <a:gd name="T40" fmla="*/ 58 w 116"/>
                    <a:gd name="T41" fmla="*/ 108 h 115"/>
                    <a:gd name="T42" fmla="*/ 54 w 116"/>
                    <a:gd name="T43" fmla="*/ 108 h 115"/>
                    <a:gd name="T44" fmla="*/ 40 w 116"/>
                    <a:gd name="T45" fmla="*/ 105 h 115"/>
                    <a:gd name="T46" fmla="*/ 15 w 116"/>
                    <a:gd name="T47" fmla="*/ 84 h 115"/>
                    <a:gd name="T48" fmla="*/ 8 w 116"/>
                    <a:gd name="T49" fmla="*/ 67 h 115"/>
                    <a:gd name="T50" fmla="*/ 11 w 116"/>
                    <a:gd name="T51" fmla="*/ 38 h 115"/>
                    <a:gd name="T52" fmla="*/ 35 w 116"/>
                    <a:gd name="T53" fmla="*/ 12 h 115"/>
                    <a:gd name="T54" fmla="*/ 58 w 116"/>
                    <a:gd name="T55" fmla="*/ 7 h 115"/>
                    <a:gd name="T56" fmla="*/ 60 w 116"/>
                    <a:gd name="T57" fmla="*/ 7 h 115"/>
                    <a:gd name="T58" fmla="*/ 64 w 116"/>
                    <a:gd name="T59" fmla="*/ 7 h 115"/>
                    <a:gd name="T60" fmla="*/ 83 w 116"/>
                    <a:gd name="T61" fmla="*/ 14 h 115"/>
                    <a:gd name="T62" fmla="*/ 97 w 116"/>
                    <a:gd name="T63" fmla="*/ 2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6" h="115">
                      <a:moveTo>
                        <a:pt x="87" y="8"/>
                      </a:moveTo>
                      <a:cubicBezTo>
                        <a:pt x="87" y="7"/>
                        <a:pt x="86" y="7"/>
                        <a:pt x="85" y="7"/>
                      </a:cubicBezTo>
                      <a:cubicBezTo>
                        <a:pt x="77" y="2"/>
                        <a:pt x="68" y="0"/>
                        <a:pt x="58" y="0"/>
                      </a:cubicBezTo>
                      <a:cubicBezTo>
                        <a:pt x="57" y="0"/>
                        <a:pt x="57" y="0"/>
                        <a:pt x="57" y="0"/>
                      </a:cubicBezTo>
                      <a:cubicBezTo>
                        <a:pt x="56" y="0"/>
                        <a:pt x="56" y="0"/>
                        <a:pt x="55" y="0"/>
                      </a:cubicBezTo>
                      <a:cubicBezTo>
                        <a:pt x="54" y="0"/>
                        <a:pt x="53" y="0"/>
                        <a:pt x="51" y="0"/>
                      </a:cubicBezTo>
                      <a:cubicBezTo>
                        <a:pt x="50" y="0"/>
                        <a:pt x="48" y="0"/>
                        <a:pt x="46" y="1"/>
                      </a:cubicBezTo>
                      <a:cubicBezTo>
                        <a:pt x="43" y="1"/>
                        <a:pt x="40" y="2"/>
                        <a:pt x="37" y="4"/>
                      </a:cubicBezTo>
                      <a:cubicBezTo>
                        <a:pt x="36" y="4"/>
                        <a:pt x="36" y="4"/>
                        <a:pt x="35" y="4"/>
                      </a:cubicBezTo>
                      <a:cubicBezTo>
                        <a:pt x="22" y="10"/>
                        <a:pt x="11" y="21"/>
                        <a:pt x="5" y="34"/>
                      </a:cubicBezTo>
                      <a:cubicBezTo>
                        <a:pt x="5" y="35"/>
                        <a:pt x="4" y="35"/>
                        <a:pt x="4" y="36"/>
                      </a:cubicBezTo>
                      <a:cubicBezTo>
                        <a:pt x="2" y="42"/>
                        <a:pt x="0" y="49"/>
                        <a:pt x="0" y="57"/>
                      </a:cubicBezTo>
                      <a:cubicBezTo>
                        <a:pt x="0" y="57"/>
                        <a:pt x="0" y="57"/>
                        <a:pt x="0" y="58"/>
                      </a:cubicBezTo>
                      <a:cubicBezTo>
                        <a:pt x="0" y="59"/>
                        <a:pt x="0" y="60"/>
                        <a:pt x="0" y="62"/>
                      </a:cubicBezTo>
                      <a:cubicBezTo>
                        <a:pt x="1" y="74"/>
                        <a:pt x="6" y="85"/>
                        <a:pt x="13" y="93"/>
                      </a:cubicBezTo>
                      <a:cubicBezTo>
                        <a:pt x="13" y="94"/>
                        <a:pt x="14" y="95"/>
                        <a:pt x="14" y="96"/>
                      </a:cubicBezTo>
                      <a:cubicBezTo>
                        <a:pt x="22" y="104"/>
                        <a:pt x="31" y="110"/>
                        <a:pt x="42" y="113"/>
                      </a:cubicBezTo>
                      <a:cubicBezTo>
                        <a:pt x="44" y="114"/>
                        <a:pt x="45" y="114"/>
                        <a:pt x="46" y="114"/>
                      </a:cubicBezTo>
                      <a:cubicBezTo>
                        <a:pt x="47" y="114"/>
                        <a:pt x="48" y="114"/>
                        <a:pt x="48" y="115"/>
                      </a:cubicBezTo>
                      <a:cubicBezTo>
                        <a:pt x="49" y="115"/>
                        <a:pt x="49" y="115"/>
                        <a:pt x="50" y="115"/>
                      </a:cubicBezTo>
                      <a:cubicBezTo>
                        <a:pt x="52" y="115"/>
                        <a:pt x="55" y="115"/>
                        <a:pt x="58" y="115"/>
                      </a:cubicBezTo>
                      <a:cubicBezTo>
                        <a:pt x="69" y="115"/>
                        <a:pt x="80" y="112"/>
                        <a:pt x="89" y="106"/>
                      </a:cubicBezTo>
                      <a:cubicBezTo>
                        <a:pt x="90" y="106"/>
                        <a:pt x="92" y="104"/>
                        <a:pt x="93" y="103"/>
                      </a:cubicBezTo>
                      <a:cubicBezTo>
                        <a:pt x="97" y="101"/>
                        <a:pt x="100" y="97"/>
                        <a:pt x="103" y="94"/>
                      </a:cubicBezTo>
                      <a:cubicBezTo>
                        <a:pt x="104" y="92"/>
                        <a:pt x="105" y="91"/>
                        <a:pt x="106" y="90"/>
                      </a:cubicBezTo>
                      <a:cubicBezTo>
                        <a:pt x="109" y="86"/>
                        <a:pt x="111" y="81"/>
                        <a:pt x="113" y="75"/>
                      </a:cubicBezTo>
                      <a:cubicBezTo>
                        <a:pt x="113" y="74"/>
                        <a:pt x="113" y="74"/>
                        <a:pt x="114" y="73"/>
                      </a:cubicBezTo>
                      <a:cubicBezTo>
                        <a:pt x="115" y="68"/>
                        <a:pt x="116" y="63"/>
                        <a:pt x="116" y="58"/>
                      </a:cubicBezTo>
                      <a:cubicBezTo>
                        <a:pt x="116" y="57"/>
                        <a:pt x="116" y="56"/>
                        <a:pt x="116" y="55"/>
                      </a:cubicBezTo>
                      <a:cubicBezTo>
                        <a:pt x="116" y="54"/>
                        <a:pt x="116" y="53"/>
                        <a:pt x="115" y="52"/>
                      </a:cubicBezTo>
                      <a:cubicBezTo>
                        <a:pt x="115" y="43"/>
                        <a:pt x="112" y="34"/>
                        <a:pt x="107" y="27"/>
                      </a:cubicBezTo>
                      <a:cubicBezTo>
                        <a:pt x="106" y="25"/>
                        <a:pt x="105" y="24"/>
                        <a:pt x="104" y="23"/>
                      </a:cubicBezTo>
                      <a:cubicBezTo>
                        <a:pt x="100" y="17"/>
                        <a:pt x="94" y="12"/>
                        <a:pt x="87" y="8"/>
                      </a:cubicBezTo>
                      <a:close/>
                      <a:moveTo>
                        <a:pt x="107" y="46"/>
                      </a:moveTo>
                      <a:cubicBezTo>
                        <a:pt x="107" y="47"/>
                        <a:pt x="108" y="48"/>
                        <a:pt x="108" y="49"/>
                      </a:cubicBezTo>
                      <a:cubicBezTo>
                        <a:pt x="108" y="52"/>
                        <a:pt x="109" y="55"/>
                        <a:pt x="109" y="58"/>
                      </a:cubicBezTo>
                      <a:cubicBezTo>
                        <a:pt x="109" y="63"/>
                        <a:pt x="108" y="69"/>
                        <a:pt x="106" y="74"/>
                      </a:cubicBezTo>
                      <a:cubicBezTo>
                        <a:pt x="106" y="74"/>
                        <a:pt x="105" y="75"/>
                        <a:pt x="105" y="76"/>
                      </a:cubicBezTo>
                      <a:cubicBezTo>
                        <a:pt x="103" y="80"/>
                        <a:pt x="101" y="85"/>
                        <a:pt x="98" y="89"/>
                      </a:cubicBezTo>
                      <a:cubicBezTo>
                        <a:pt x="97" y="90"/>
                        <a:pt x="95" y="92"/>
                        <a:pt x="94" y="93"/>
                      </a:cubicBezTo>
                      <a:cubicBezTo>
                        <a:pt x="93" y="94"/>
                        <a:pt x="92" y="95"/>
                        <a:pt x="91" y="96"/>
                      </a:cubicBezTo>
                      <a:cubicBezTo>
                        <a:pt x="82" y="104"/>
                        <a:pt x="70" y="108"/>
                        <a:pt x="58" y="108"/>
                      </a:cubicBezTo>
                      <a:cubicBezTo>
                        <a:pt x="57" y="108"/>
                        <a:pt x="56" y="108"/>
                        <a:pt x="55" y="108"/>
                      </a:cubicBezTo>
                      <a:cubicBezTo>
                        <a:pt x="55" y="108"/>
                        <a:pt x="54" y="108"/>
                        <a:pt x="54" y="108"/>
                      </a:cubicBezTo>
                      <a:cubicBezTo>
                        <a:pt x="50" y="108"/>
                        <a:pt x="47" y="107"/>
                        <a:pt x="44" y="106"/>
                      </a:cubicBezTo>
                      <a:cubicBezTo>
                        <a:pt x="43" y="106"/>
                        <a:pt x="42" y="105"/>
                        <a:pt x="40" y="105"/>
                      </a:cubicBezTo>
                      <a:cubicBezTo>
                        <a:pt x="31" y="101"/>
                        <a:pt x="22" y="95"/>
                        <a:pt x="16" y="86"/>
                      </a:cubicBezTo>
                      <a:cubicBezTo>
                        <a:pt x="16" y="85"/>
                        <a:pt x="15" y="85"/>
                        <a:pt x="15" y="84"/>
                      </a:cubicBezTo>
                      <a:cubicBezTo>
                        <a:pt x="12" y="80"/>
                        <a:pt x="11" y="76"/>
                        <a:pt x="9" y="72"/>
                      </a:cubicBezTo>
                      <a:cubicBezTo>
                        <a:pt x="9" y="70"/>
                        <a:pt x="8" y="68"/>
                        <a:pt x="8" y="67"/>
                      </a:cubicBezTo>
                      <a:cubicBezTo>
                        <a:pt x="8" y="64"/>
                        <a:pt x="7" y="61"/>
                        <a:pt x="7" y="58"/>
                      </a:cubicBezTo>
                      <a:cubicBezTo>
                        <a:pt x="7" y="50"/>
                        <a:pt x="9" y="44"/>
                        <a:pt x="11" y="38"/>
                      </a:cubicBezTo>
                      <a:cubicBezTo>
                        <a:pt x="12" y="37"/>
                        <a:pt x="12" y="36"/>
                        <a:pt x="12" y="36"/>
                      </a:cubicBezTo>
                      <a:cubicBezTo>
                        <a:pt x="17" y="26"/>
                        <a:pt x="25" y="17"/>
                        <a:pt x="35" y="12"/>
                      </a:cubicBezTo>
                      <a:cubicBezTo>
                        <a:pt x="36" y="12"/>
                        <a:pt x="36" y="12"/>
                        <a:pt x="37" y="11"/>
                      </a:cubicBezTo>
                      <a:cubicBezTo>
                        <a:pt x="43" y="9"/>
                        <a:pt x="50" y="7"/>
                        <a:pt x="58" y="7"/>
                      </a:cubicBezTo>
                      <a:cubicBezTo>
                        <a:pt x="58" y="7"/>
                        <a:pt x="58" y="7"/>
                        <a:pt x="58" y="7"/>
                      </a:cubicBezTo>
                      <a:cubicBezTo>
                        <a:pt x="59" y="7"/>
                        <a:pt x="59" y="7"/>
                        <a:pt x="60" y="7"/>
                      </a:cubicBezTo>
                      <a:cubicBezTo>
                        <a:pt x="60" y="7"/>
                        <a:pt x="61" y="7"/>
                        <a:pt x="61" y="7"/>
                      </a:cubicBezTo>
                      <a:cubicBezTo>
                        <a:pt x="62" y="7"/>
                        <a:pt x="63" y="7"/>
                        <a:pt x="64" y="7"/>
                      </a:cubicBezTo>
                      <a:cubicBezTo>
                        <a:pt x="70" y="8"/>
                        <a:pt x="76" y="10"/>
                        <a:pt x="81" y="13"/>
                      </a:cubicBezTo>
                      <a:cubicBezTo>
                        <a:pt x="82" y="13"/>
                        <a:pt x="82" y="13"/>
                        <a:pt x="83" y="14"/>
                      </a:cubicBezTo>
                      <a:cubicBezTo>
                        <a:pt x="87" y="16"/>
                        <a:pt x="91" y="19"/>
                        <a:pt x="94" y="22"/>
                      </a:cubicBezTo>
                      <a:cubicBezTo>
                        <a:pt x="95" y="23"/>
                        <a:pt x="96" y="24"/>
                        <a:pt x="97" y="25"/>
                      </a:cubicBezTo>
                      <a:cubicBezTo>
                        <a:pt x="102" y="31"/>
                        <a:pt x="105" y="38"/>
                        <a:pt x="107" y="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grpSp>
          <p:sp>
            <p:nvSpPr>
              <p:cNvPr id="19" name="Subtitle 2"/>
              <p:cNvSpPr txBox="1">
                <a:spLocks/>
              </p:cNvSpPr>
              <p:nvPr userDrawn="1"/>
            </p:nvSpPr>
            <p:spPr>
              <a:xfrm>
                <a:off x="1214906" y="3776542"/>
                <a:ext cx="3498820" cy="487048"/>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2000" dirty="0">
                    <a:solidFill>
                      <a:schemeClr val="bg1"/>
                    </a:solidFill>
                    <a:latin typeface="+mn-lt"/>
                  </a:rPr>
                  <a:t>www.velrada.com</a:t>
                </a:r>
              </a:p>
            </p:txBody>
          </p:sp>
        </p:grpSp>
        <p:grpSp>
          <p:nvGrpSpPr>
            <p:cNvPr id="53" name="Group 52"/>
            <p:cNvGrpSpPr/>
            <p:nvPr userDrawn="1"/>
          </p:nvGrpSpPr>
          <p:grpSpPr>
            <a:xfrm>
              <a:off x="6314807" y="2510412"/>
              <a:ext cx="2442241" cy="519233"/>
              <a:chOff x="391261" y="4603148"/>
              <a:chExt cx="3552229" cy="755222"/>
            </a:xfrm>
          </p:grpSpPr>
          <p:grpSp>
            <p:nvGrpSpPr>
              <p:cNvPr id="54" name="Group 53"/>
              <p:cNvGrpSpPr/>
              <p:nvPr userDrawn="1"/>
            </p:nvGrpSpPr>
            <p:grpSpPr>
              <a:xfrm>
                <a:off x="391261" y="4603148"/>
                <a:ext cx="755222" cy="755222"/>
                <a:chOff x="-2529227" y="1261512"/>
                <a:chExt cx="980334" cy="980334"/>
              </a:xfrm>
            </p:grpSpPr>
            <p:sp>
              <p:nvSpPr>
                <p:cNvPr id="56" name="Oval 103"/>
                <p:cNvSpPr>
                  <a:spLocks noChangeArrowheads="1"/>
                </p:cNvSpPr>
                <p:nvPr userDrawn="1"/>
              </p:nvSpPr>
              <p:spPr bwMode="auto">
                <a:xfrm>
                  <a:off x="-2529227" y="1261512"/>
                  <a:ext cx="980334" cy="98033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57" name="Freeform 104"/>
                <p:cNvSpPr>
                  <a:spLocks/>
                </p:cNvSpPr>
                <p:nvPr userDrawn="1"/>
              </p:nvSpPr>
              <p:spPr bwMode="auto">
                <a:xfrm>
                  <a:off x="-2232850" y="1459098"/>
                  <a:ext cx="410371" cy="577560"/>
                </a:xfrm>
                <a:custGeom>
                  <a:avLst/>
                  <a:gdLst>
                    <a:gd name="T0" fmla="*/ 0 w 71"/>
                    <a:gd name="T1" fmla="*/ 24 h 100"/>
                    <a:gd name="T2" fmla="*/ 41 w 71"/>
                    <a:gd name="T3" fmla="*/ 95 h 100"/>
                    <a:gd name="T4" fmla="*/ 71 w 71"/>
                    <a:gd name="T5" fmla="*/ 82 h 100"/>
                    <a:gd name="T6" fmla="*/ 54 w 71"/>
                    <a:gd name="T7" fmla="*/ 66 h 100"/>
                    <a:gd name="T8" fmla="*/ 40 w 71"/>
                    <a:gd name="T9" fmla="*/ 73 h 100"/>
                    <a:gd name="T10" fmla="*/ 25 w 71"/>
                    <a:gd name="T11" fmla="*/ 55 h 100"/>
                    <a:gd name="T12" fmla="*/ 19 w 71"/>
                    <a:gd name="T13" fmla="*/ 33 h 100"/>
                    <a:gd name="T14" fmla="*/ 31 w 71"/>
                    <a:gd name="T15" fmla="*/ 26 h 100"/>
                    <a:gd name="T16" fmla="*/ 20 w 71"/>
                    <a:gd name="T17" fmla="*/ 0 h 100"/>
                    <a:gd name="T18" fmla="*/ 0 w 71"/>
                    <a:gd name="T19" fmla="*/ 2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100">
                      <a:moveTo>
                        <a:pt x="0" y="24"/>
                      </a:moveTo>
                      <a:cubicBezTo>
                        <a:pt x="2" y="72"/>
                        <a:pt x="36" y="93"/>
                        <a:pt x="41" y="95"/>
                      </a:cubicBezTo>
                      <a:cubicBezTo>
                        <a:pt x="54" y="100"/>
                        <a:pt x="66" y="95"/>
                        <a:pt x="71" y="82"/>
                      </a:cubicBezTo>
                      <a:cubicBezTo>
                        <a:pt x="71" y="82"/>
                        <a:pt x="60" y="70"/>
                        <a:pt x="54" y="66"/>
                      </a:cubicBezTo>
                      <a:cubicBezTo>
                        <a:pt x="40" y="73"/>
                        <a:pt x="40" y="73"/>
                        <a:pt x="40" y="73"/>
                      </a:cubicBezTo>
                      <a:cubicBezTo>
                        <a:pt x="40" y="73"/>
                        <a:pt x="34" y="72"/>
                        <a:pt x="25" y="55"/>
                      </a:cubicBezTo>
                      <a:cubicBezTo>
                        <a:pt x="17" y="39"/>
                        <a:pt x="19" y="33"/>
                        <a:pt x="19" y="33"/>
                      </a:cubicBezTo>
                      <a:cubicBezTo>
                        <a:pt x="31" y="26"/>
                        <a:pt x="31" y="26"/>
                        <a:pt x="31" y="26"/>
                      </a:cubicBezTo>
                      <a:cubicBezTo>
                        <a:pt x="32" y="17"/>
                        <a:pt x="31" y="0"/>
                        <a:pt x="20" y="0"/>
                      </a:cubicBezTo>
                      <a:cubicBezTo>
                        <a:pt x="8" y="0"/>
                        <a:pt x="0" y="14"/>
                        <a:pt x="0"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grpSp>
          <p:sp>
            <p:nvSpPr>
              <p:cNvPr id="55" name="Subtitle 2"/>
              <p:cNvSpPr txBox="1">
                <a:spLocks/>
              </p:cNvSpPr>
              <p:nvPr userDrawn="1"/>
            </p:nvSpPr>
            <p:spPr>
              <a:xfrm>
                <a:off x="1172685" y="4740629"/>
                <a:ext cx="2770805" cy="487048"/>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2000" dirty="0">
                    <a:solidFill>
                      <a:schemeClr val="bg1"/>
                    </a:solidFill>
                    <a:latin typeface="+mn-lt"/>
                  </a:rPr>
                  <a:t>1300 835 723</a:t>
                </a:r>
              </a:p>
            </p:txBody>
          </p:sp>
        </p:grpSp>
        <p:grpSp>
          <p:nvGrpSpPr>
            <p:cNvPr id="58" name="Group 57"/>
            <p:cNvGrpSpPr/>
            <p:nvPr userDrawn="1"/>
          </p:nvGrpSpPr>
          <p:grpSpPr>
            <a:xfrm>
              <a:off x="6314807" y="1871495"/>
              <a:ext cx="3296054" cy="519233"/>
              <a:chOff x="4110482" y="3631314"/>
              <a:chExt cx="4794097" cy="755222"/>
            </a:xfrm>
          </p:grpSpPr>
          <p:grpSp>
            <p:nvGrpSpPr>
              <p:cNvPr id="59" name="Group 58"/>
              <p:cNvGrpSpPr/>
              <p:nvPr userDrawn="1"/>
            </p:nvGrpSpPr>
            <p:grpSpPr>
              <a:xfrm>
                <a:off x="4110482" y="3631314"/>
                <a:ext cx="755222" cy="755222"/>
                <a:chOff x="-2529227" y="2523024"/>
                <a:chExt cx="980334" cy="980334"/>
              </a:xfrm>
            </p:grpSpPr>
            <p:sp>
              <p:nvSpPr>
                <p:cNvPr id="61" name="Oval 101"/>
                <p:cNvSpPr>
                  <a:spLocks noChangeArrowheads="1"/>
                </p:cNvSpPr>
                <p:nvPr userDrawn="1"/>
              </p:nvSpPr>
              <p:spPr bwMode="auto">
                <a:xfrm>
                  <a:off x="-2529227" y="2523024"/>
                  <a:ext cx="980334" cy="98033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62" name="Freeform 105"/>
                <p:cNvSpPr>
                  <a:spLocks noEditPoints="1"/>
                </p:cNvSpPr>
                <p:nvPr userDrawn="1"/>
              </p:nvSpPr>
              <p:spPr bwMode="auto">
                <a:xfrm>
                  <a:off x="-2308845" y="2849799"/>
                  <a:ext cx="531963" cy="334377"/>
                </a:xfrm>
                <a:custGeom>
                  <a:avLst/>
                  <a:gdLst>
                    <a:gd name="T0" fmla="*/ 35 w 70"/>
                    <a:gd name="T1" fmla="*/ 35 h 44"/>
                    <a:gd name="T2" fmla="*/ 0 w 70"/>
                    <a:gd name="T3" fmla="*/ 5 h 44"/>
                    <a:gd name="T4" fmla="*/ 0 w 70"/>
                    <a:gd name="T5" fmla="*/ 44 h 44"/>
                    <a:gd name="T6" fmla="*/ 70 w 70"/>
                    <a:gd name="T7" fmla="*/ 44 h 44"/>
                    <a:gd name="T8" fmla="*/ 70 w 70"/>
                    <a:gd name="T9" fmla="*/ 5 h 44"/>
                    <a:gd name="T10" fmla="*/ 35 w 70"/>
                    <a:gd name="T11" fmla="*/ 35 h 44"/>
                    <a:gd name="T12" fmla="*/ 70 w 70"/>
                    <a:gd name="T13" fmla="*/ 0 h 44"/>
                    <a:gd name="T14" fmla="*/ 1 w 70"/>
                    <a:gd name="T15" fmla="*/ 0 h 44"/>
                    <a:gd name="T16" fmla="*/ 35 w 70"/>
                    <a:gd name="T17" fmla="*/ 29 h 44"/>
                    <a:gd name="T18" fmla="*/ 70 w 70"/>
                    <a:gd name="T1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44">
                      <a:moveTo>
                        <a:pt x="35" y="35"/>
                      </a:moveTo>
                      <a:lnTo>
                        <a:pt x="0" y="5"/>
                      </a:lnTo>
                      <a:lnTo>
                        <a:pt x="0" y="44"/>
                      </a:lnTo>
                      <a:lnTo>
                        <a:pt x="70" y="44"/>
                      </a:lnTo>
                      <a:lnTo>
                        <a:pt x="70" y="5"/>
                      </a:lnTo>
                      <a:lnTo>
                        <a:pt x="35" y="35"/>
                      </a:lnTo>
                      <a:close/>
                      <a:moveTo>
                        <a:pt x="70" y="0"/>
                      </a:moveTo>
                      <a:lnTo>
                        <a:pt x="1" y="0"/>
                      </a:lnTo>
                      <a:lnTo>
                        <a:pt x="35" y="29"/>
                      </a:lnTo>
                      <a:lnTo>
                        <a:pt x="7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grpSp>
          <p:sp>
            <p:nvSpPr>
              <p:cNvPr id="60" name="Subtitle 2"/>
              <p:cNvSpPr txBox="1">
                <a:spLocks/>
              </p:cNvSpPr>
              <p:nvPr userDrawn="1"/>
            </p:nvSpPr>
            <p:spPr>
              <a:xfrm>
                <a:off x="4943607" y="3776542"/>
                <a:ext cx="3960972" cy="487048"/>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2000" dirty="0">
                    <a:solidFill>
                      <a:schemeClr val="bg1"/>
                    </a:solidFill>
                    <a:latin typeface="+mn-lt"/>
                  </a:rPr>
                  <a:t>info@velrada.com</a:t>
                </a:r>
              </a:p>
            </p:txBody>
          </p:sp>
        </p:grpSp>
        <p:grpSp>
          <p:nvGrpSpPr>
            <p:cNvPr id="73" name="Group 72"/>
            <p:cNvGrpSpPr/>
            <p:nvPr userDrawn="1"/>
          </p:nvGrpSpPr>
          <p:grpSpPr>
            <a:xfrm>
              <a:off x="6314807" y="3149330"/>
              <a:ext cx="5151043" cy="519233"/>
              <a:chOff x="7829703" y="4603148"/>
              <a:chExt cx="7492171" cy="755222"/>
            </a:xfrm>
          </p:grpSpPr>
          <p:grpSp>
            <p:nvGrpSpPr>
              <p:cNvPr id="74" name="Group 73"/>
              <p:cNvGrpSpPr/>
              <p:nvPr userDrawn="1"/>
            </p:nvGrpSpPr>
            <p:grpSpPr>
              <a:xfrm>
                <a:off x="7829703" y="4603148"/>
                <a:ext cx="755222" cy="755222"/>
                <a:chOff x="-2529227" y="6322759"/>
                <a:chExt cx="980334" cy="980334"/>
              </a:xfrm>
            </p:grpSpPr>
            <p:sp>
              <p:nvSpPr>
                <p:cNvPr id="76" name="Oval 110"/>
                <p:cNvSpPr>
                  <a:spLocks noChangeArrowheads="1"/>
                </p:cNvSpPr>
                <p:nvPr userDrawn="1"/>
              </p:nvSpPr>
              <p:spPr bwMode="auto">
                <a:xfrm>
                  <a:off x="-2529227" y="6322759"/>
                  <a:ext cx="980334" cy="98033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grpSp>
              <p:nvGrpSpPr>
                <p:cNvPr id="77" name="Group 76"/>
                <p:cNvGrpSpPr/>
                <p:nvPr userDrawn="1"/>
              </p:nvGrpSpPr>
              <p:grpSpPr>
                <a:xfrm>
                  <a:off x="-2232850" y="6550743"/>
                  <a:ext cx="387575" cy="524366"/>
                  <a:chOff x="-2232850" y="6550743"/>
                  <a:chExt cx="387575" cy="524366"/>
                </a:xfrm>
              </p:grpSpPr>
              <p:sp>
                <p:nvSpPr>
                  <p:cNvPr id="78" name="Freeform 111"/>
                  <p:cNvSpPr>
                    <a:spLocks/>
                  </p:cNvSpPr>
                  <p:nvPr userDrawn="1"/>
                </p:nvSpPr>
                <p:spPr bwMode="auto">
                  <a:xfrm>
                    <a:off x="-2232850" y="6550743"/>
                    <a:ext cx="387575" cy="524366"/>
                  </a:xfrm>
                  <a:custGeom>
                    <a:avLst/>
                    <a:gdLst>
                      <a:gd name="T0" fmla="*/ 34 w 68"/>
                      <a:gd name="T1" fmla="*/ 90 h 90"/>
                      <a:gd name="T2" fmla="*/ 66 w 68"/>
                      <a:gd name="T3" fmla="*/ 42 h 90"/>
                      <a:gd name="T4" fmla="*/ 68 w 68"/>
                      <a:gd name="T5" fmla="*/ 35 h 90"/>
                      <a:gd name="T6" fmla="*/ 68 w 68"/>
                      <a:gd name="T7" fmla="*/ 32 h 90"/>
                      <a:gd name="T8" fmla="*/ 34 w 68"/>
                      <a:gd name="T9" fmla="*/ 0 h 90"/>
                      <a:gd name="T10" fmla="*/ 0 w 68"/>
                      <a:gd name="T11" fmla="*/ 32 h 90"/>
                      <a:gd name="T12" fmla="*/ 1 w 68"/>
                      <a:gd name="T13" fmla="*/ 36 h 90"/>
                      <a:gd name="T14" fmla="*/ 1 w 68"/>
                      <a:gd name="T15" fmla="*/ 36 h 90"/>
                      <a:gd name="T16" fmla="*/ 34 w 68"/>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90">
                        <a:moveTo>
                          <a:pt x="34" y="90"/>
                        </a:moveTo>
                        <a:cubicBezTo>
                          <a:pt x="56" y="70"/>
                          <a:pt x="64" y="52"/>
                          <a:pt x="66" y="42"/>
                        </a:cubicBezTo>
                        <a:cubicBezTo>
                          <a:pt x="67" y="40"/>
                          <a:pt x="68" y="37"/>
                          <a:pt x="68" y="35"/>
                        </a:cubicBezTo>
                        <a:cubicBezTo>
                          <a:pt x="68" y="33"/>
                          <a:pt x="68" y="32"/>
                          <a:pt x="68" y="32"/>
                        </a:cubicBezTo>
                        <a:cubicBezTo>
                          <a:pt x="68" y="15"/>
                          <a:pt x="53" y="0"/>
                          <a:pt x="34" y="0"/>
                        </a:cubicBezTo>
                        <a:cubicBezTo>
                          <a:pt x="16" y="0"/>
                          <a:pt x="0" y="15"/>
                          <a:pt x="0" y="32"/>
                        </a:cubicBezTo>
                        <a:cubicBezTo>
                          <a:pt x="0" y="33"/>
                          <a:pt x="1" y="35"/>
                          <a:pt x="1" y="36"/>
                        </a:cubicBezTo>
                        <a:cubicBezTo>
                          <a:pt x="1" y="36"/>
                          <a:pt x="1" y="36"/>
                          <a:pt x="1" y="36"/>
                        </a:cubicBezTo>
                        <a:cubicBezTo>
                          <a:pt x="3" y="62"/>
                          <a:pt x="34" y="90"/>
                          <a:pt x="34" y="9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79" name="Oval 112"/>
                  <p:cNvSpPr>
                    <a:spLocks noChangeArrowheads="1"/>
                  </p:cNvSpPr>
                  <p:nvPr userDrawn="1"/>
                </p:nvSpPr>
                <p:spPr bwMode="auto">
                  <a:xfrm>
                    <a:off x="-2164452" y="6611539"/>
                    <a:ext cx="250785" cy="250785"/>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grpSp>
          </p:grpSp>
          <p:sp>
            <p:nvSpPr>
              <p:cNvPr id="75" name="Subtitle 2"/>
              <p:cNvSpPr txBox="1">
                <a:spLocks/>
              </p:cNvSpPr>
              <p:nvPr userDrawn="1"/>
            </p:nvSpPr>
            <p:spPr>
              <a:xfrm>
                <a:off x="8662828" y="4740628"/>
                <a:ext cx="6659046" cy="487048"/>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2000" dirty="0">
                    <a:solidFill>
                      <a:schemeClr val="bg1"/>
                    </a:solidFill>
                    <a:latin typeface="+mn-lt"/>
                  </a:rPr>
                  <a:t>Australia. New Zealand. Singapore.</a:t>
                </a:r>
              </a:p>
            </p:txBody>
          </p:sp>
        </p:grpSp>
      </p:grpSp>
      <p:sp>
        <p:nvSpPr>
          <p:cNvPr id="88" name="Title 1"/>
          <p:cNvSpPr txBox="1">
            <a:spLocks/>
          </p:cNvSpPr>
          <p:nvPr userDrawn="1"/>
        </p:nvSpPr>
        <p:spPr>
          <a:xfrm>
            <a:off x="5758355" y="3918280"/>
            <a:ext cx="10068998" cy="879910"/>
          </a:xfrm>
          <a:prstGeom prst="rect">
            <a:avLst/>
          </a:prstGeom>
        </p:spPr>
        <p:txBody>
          <a:bodyPr>
            <a:noAutofit/>
          </a:bodyPr>
          <a:lstStyle>
            <a:lvl1pPr algn="l" defTabSz="896214" rtl="0" eaLnBrk="1" latinLnBrk="0" hangingPunct="1">
              <a:spcBef>
                <a:spcPct val="0"/>
              </a:spcBef>
              <a:buNone/>
              <a:defRPr sz="5000" kern="1200" baseline="0">
                <a:solidFill>
                  <a:schemeClr val="tx1"/>
                </a:solidFill>
                <a:latin typeface="Segoe UI Light" pitchFamily="34" charset="0"/>
                <a:ea typeface="+mj-ea"/>
                <a:cs typeface="+mj-cs"/>
              </a:defRPr>
            </a:lvl1pPr>
          </a:lstStyle>
          <a:p>
            <a:r>
              <a:rPr lang="en-US" b="1" spc="-150" dirty="0">
                <a:solidFill>
                  <a:schemeClr val="bg1"/>
                </a:solidFill>
                <a:latin typeface="+mn-lt"/>
              </a:rPr>
              <a:t>Make the leap.</a:t>
            </a:r>
          </a:p>
        </p:txBody>
      </p:sp>
      <p:sp>
        <p:nvSpPr>
          <p:cNvPr id="71" name="Subtitle 2">
            <a:extLst>
              <a:ext uri="{FF2B5EF4-FFF2-40B4-BE49-F238E27FC236}">
                <a16:creationId xmlns:a16="http://schemas.microsoft.com/office/drawing/2014/main" id="{30CB09E2-3A6E-41C6-B319-63E41B5052D5}"/>
              </a:ext>
            </a:extLst>
          </p:cNvPr>
          <p:cNvSpPr txBox="1">
            <a:spLocks/>
          </p:cNvSpPr>
          <p:nvPr userDrawn="1"/>
        </p:nvSpPr>
        <p:spPr>
          <a:xfrm>
            <a:off x="9722832" y="6309268"/>
            <a:ext cx="1728940" cy="240675"/>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1600" b="1" spc="-150" dirty="0">
                <a:solidFill>
                  <a:schemeClr val="bg1"/>
                </a:solidFill>
                <a:latin typeface="+mn-lt"/>
              </a:rPr>
              <a:t>www.velrada.com</a:t>
            </a:r>
          </a:p>
        </p:txBody>
      </p:sp>
    </p:spTree>
    <p:extLst>
      <p:ext uri="{BB962C8B-B14F-4D97-AF65-F5344CB8AC3E}">
        <p14:creationId xmlns:p14="http://schemas.microsoft.com/office/powerpoint/2010/main" val="16711181"/>
      </p:ext>
    </p:extLst>
  </p:cSld>
  <p:clrMapOvr>
    <a:masterClrMapping/>
  </p:clrMapOvr>
  <p:transition spd="slow">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_&amp;_Subtitle_&amp;_pic">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4"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2859394384"/>
      </p:ext>
    </p:extLst>
  </p:cSld>
  <p:clrMapOvr>
    <a:masterClrMapping/>
  </p:clrMapOvr>
  <p:transition spd="slow">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_&amp;_Subtitle_&amp;_pic">
    <p:spTree>
      <p:nvGrpSpPr>
        <p:cNvPr id="1" name=""/>
        <p:cNvGrpSpPr/>
        <p:nvPr/>
      </p:nvGrpSpPr>
      <p:grpSpPr>
        <a:xfrm>
          <a:off x="0" y="0"/>
          <a:ext cx="0" cy="0"/>
          <a:chOff x="0" y="0"/>
          <a:chExt cx="0" cy="0"/>
        </a:xfrm>
      </p:grpSpPr>
      <p:sp>
        <p:nvSpPr>
          <p:cNvPr id="4"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343661790"/>
      </p:ext>
    </p:extLst>
  </p:cSld>
  <p:clrMapOvr>
    <a:masterClrMapping/>
  </p:clrMapOvr>
  <p:transition spd="slow">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_&amp;_Subtitle_&amp;_Content">
    <p:spTree>
      <p:nvGrpSpPr>
        <p:cNvPr id="1" name=""/>
        <p:cNvGrpSpPr/>
        <p:nvPr/>
      </p:nvGrpSpPr>
      <p:grpSpPr>
        <a:xfrm>
          <a:off x="0" y="0"/>
          <a:ext cx="0" cy="0"/>
          <a:chOff x="0" y="0"/>
          <a:chExt cx="0" cy="0"/>
        </a:xfrm>
      </p:grpSpPr>
      <p:sp>
        <p:nvSpPr>
          <p:cNvPr id="5" name="Text Placeholder 2"/>
          <p:cNvSpPr>
            <a:spLocks noGrp="1"/>
          </p:cNvSpPr>
          <p:nvPr>
            <p:ph idx="11" hasCustomPrompt="1"/>
          </p:nvPr>
        </p:nvSpPr>
        <p:spPr>
          <a:xfrm>
            <a:off x="556939" y="1781056"/>
            <a:ext cx="11088962"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2189693258"/>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2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Text Placeholder 2"/>
          <p:cNvSpPr>
            <a:spLocks noGrp="1"/>
          </p:cNvSpPr>
          <p:nvPr>
            <p:ph idx="11" hasCustomPrompt="1"/>
          </p:nvPr>
        </p:nvSpPr>
        <p:spPr>
          <a:xfrm>
            <a:off x="552817" y="1792410"/>
            <a:ext cx="5465441"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p:cNvSpPr>
            <a:spLocks noGrp="1"/>
          </p:cNvSpPr>
          <p:nvPr>
            <p:ph idx="13" hasCustomPrompt="1"/>
          </p:nvPr>
        </p:nvSpPr>
        <p:spPr>
          <a:xfrm>
            <a:off x="6474902" y="1792410"/>
            <a:ext cx="5176614"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2006166290"/>
      </p:ext>
    </p:extLst>
  </p:cSld>
  <p:clrMapOvr>
    <a:masterClrMapping/>
  </p:clrMapOvr>
  <p:transition spd="slow">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
        <p:nvSpPr>
          <p:cNvPr id="6" name="Text Placeholder 3"/>
          <p:cNvSpPr>
            <a:spLocks noGrp="1"/>
          </p:cNvSpPr>
          <p:nvPr>
            <p:ph type="body" sz="quarter" idx="12" hasCustomPrompt="1"/>
          </p:nvPr>
        </p:nvSpPr>
        <p:spPr>
          <a:xfrm>
            <a:off x="556097" y="1070523"/>
            <a:ext cx="5403483"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
        <p:nvSpPr>
          <p:cNvPr id="7" name="Title Placeholder 1"/>
          <p:cNvSpPr>
            <a:spLocks noGrp="1"/>
          </p:cNvSpPr>
          <p:nvPr>
            <p:ph type="title" hasCustomPrompt="1"/>
          </p:nvPr>
        </p:nvSpPr>
        <p:spPr>
          <a:xfrm>
            <a:off x="556097" y="336127"/>
            <a:ext cx="540348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defRPr>
            </a:lvl1pPr>
          </a:lstStyle>
          <a:p>
            <a:r>
              <a:rPr lang="en-US" dirty="0"/>
              <a:t>Title</a:t>
            </a:r>
          </a:p>
        </p:txBody>
      </p:sp>
    </p:spTree>
    <p:extLst>
      <p:ext uri="{BB962C8B-B14F-4D97-AF65-F5344CB8AC3E}">
        <p14:creationId xmlns:p14="http://schemas.microsoft.com/office/powerpoint/2010/main" val="2516728357"/>
      </p:ext>
    </p:extLst>
  </p:cSld>
  <p:clrMapOvr>
    <a:masterClrMapping/>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_&amp;_Subtitle_&amp;_pic">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094" y="336132"/>
            <a:ext cx="11336415" cy="727715"/>
          </a:xfrm>
          <a:prstGeom prst="rect">
            <a:avLst/>
          </a:prstGeom>
        </p:spPr>
        <p:txBody>
          <a:bodyPr vert="horz" lIns="0" tIns="0" rIns="0" bIns="0" rtlCol="0" anchor="ctr">
            <a:normAutofit/>
          </a:bodyPr>
          <a:lstStyle>
            <a:lvl1pPr>
              <a:defRPr sz="4000" b="1" spc="-150">
                <a:solidFill>
                  <a:schemeClr val="tx1">
                    <a:lumMod val="50000"/>
                  </a:schemeClr>
                </a:solidFill>
                <a:latin typeface="+mn-lt"/>
              </a:defRPr>
            </a:lvl1pPr>
          </a:lstStyle>
          <a:p>
            <a:r>
              <a:rPr lang="en-US" dirty="0"/>
              <a:t>Title</a:t>
            </a:r>
          </a:p>
        </p:txBody>
      </p:sp>
      <p:sp>
        <p:nvSpPr>
          <p:cNvPr id="4" name="Text Placeholder 3"/>
          <p:cNvSpPr>
            <a:spLocks noGrp="1"/>
          </p:cNvSpPr>
          <p:nvPr>
            <p:ph type="body" sz="quarter" idx="12" hasCustomPrompt="1"/>
          </p:nvPr>
        </p:nvSpPr>
        <p:spPr>
          <a:xfrm>
            <a:off x="556095" y="1070528"/>
            <a:ext cx="11336414"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
        <p:nvSpPr>
          <p:cNvPr id="6" name="Picture Placeholder 5"/>
          <p:cNvSpPr>
            <a:spLocks noGrp="1"/>
          </p:cNvSpPr>
          <p:nvPr>
            <p:ph type="pic" sz="quarter" idx="13"/>
          </p:nvPr>
        </p:nvSpPr>
        <p:spPr>
          <a:xfrm>
            <a:off x="0" y="2365375"/>
            <a:ext cx="12192000" cy="4492625"/>
          </a:xfrm>
          <a:prstGeom prst="rect">
            <a:avLst/>
          </a:prstGeom>
        </p:spPr>
        <p:txBody>
          <a:bodyPr/>
          <a:lstStyle>
            <a:lvl1pPr>
              <a:defRPr>
                <a:solidFill>
                  <a:schemeClr val="tx1">
                    <a:lumMod val="50000"/>
                  </a:schemeClr>
                </a:solidFill>
              </a:defRPr>
            </a:lvl1pPr>
          </a:lstStyle>
          <a:p>
            <a:r>
              <a:rPr lang="en-US" dirty="0"/>
              <a:t>Click icon to add picture</a:t>
            </a:r>
          </a:p>
        </p:txBody>
      </p:sp>
    </p:spTree>
    <p:extLst>
      <p:ext uri="{BB962C8B-B14F-4D97-AF65-F5344CB8AC3E}">
        <p14:creationId xmlns:p14="http://schemas.microsoft.com/office/powerpoint/2010/main" val="1754769114"/>
      </p:ext>
    </p:extLst>
  </p:cSld>
  <p:clrMapOvr>
    <a:masterClrMapping/>
  </p:clrMapOvr>
  <p:transition spd="slow">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_&amp;_Subtitl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095" y="336128"/>
            <a:ext cx="1052793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defRPr>
            </a:lvl1pPr>
          </a:lstStyle>
          <a:p>
            <a:r>
              <a:rPr lang="en-US" dirty="0"/>
              <a:t>Title</a:t>
            </a:r>
          </a:p>
        </p:txBody>
      </p:sp>
      <p:sp>
        <p:nvSpPr>
          <p:cNvPr id="4" name="Text Placeholder 3"/>
          <p:cNvSpPr>
            <a:spLocks noGrp="1"/>
          </p:cNvSpPr>
          <p:nvPr>
            <p:ph type="body" sz="quarter" idx="12" hasCustomPrompt="1"/>
          </p:nvPr>
        </p:nvSpPr>
        <p:spPr>
          <a:xfrm>
            <a:off x="556094" y="1070524"/>
            <a:ext cx="10527237"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1348424979"/>
      </p:ext>
    </p:extLst>
  </p:cSld>
  <p:clrMapOvr>
    <a:masterClrMapping/>
  </p:clrMapOvr>
  <p:transition spd="slow">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_&amp;_Subtitle_&amp;_pic">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4"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541381990"/>
      </p:ext>
    </p:extLst>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_&amp;_Subtitle_&amp;_Content">
    <p:spTree>
      <p:nvGrpSpPr>
        <p:cNvPr id="1" name=""/>
        <p:cNvGrpSpPr/>
        <p:nvPr/>
      </p:nvGrpSpPr>
      <p:grpSpPr>
        <a:xfrm>
          <a:off x="0" y="0"/>
          <a:ext cx="0" cy="0"/>
          <a:chOff x="0" y="0"/>
          <a:chExt cx="0" cy="0"/>
        </a:xfrm>
      </p:grpSpPr>
      <p:sp>
        <p:nvSpPr>
          <p:cNvPr id="5" name="Text Placeholder 2"/>
          <p:cNvSpPr>
            <a:spLocks noGrp="1"/>
          </p:cNvSpPr>
          <p:nvPr>
            <p:ph idx="11" hasCustomPrompt="1"/>
          </p:nvPr>
        </p:nvSpPr>
        <p:spPr>
          <a:xfrm>
            <a:off x="556939" y="1781056"/>
            <a:ext cx="11088962"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535067778"/>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7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Text Placeholder 2"/>
          <p:cNvSpPr>
            <a:spLocks noGrp="1"/>
          </p:cNvSpPr>
          <p:nvPr>
            <p:ph idx="11" hasCustomPrompt="1"/>
          </p:nvPr>
        </p:nvSpPr>
        <p:spPr>
          <a:xfrm>
            <a:off x="552817" y="1792410"/>
            <a:ext cx="5465441"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p:cNvSpPr>
            <a:spLocks noGrp="1"/>
          </p:cNvSpPr>
          <p:nvPr>
            <p:ph idx="13" hasCustomPrompt="1"/>
          </p:nvPr>
        </p:nvSpPr>
        <p:spPr>
          <a:xfrm>
            <a:off x="6474902" y="1792410"/>
            <a:ext cx="5176614"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1226305673"/>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_&amp;_Subtitle_&amp;_Content">
    <p:spTree>
      <p:nvGrpSpPr>
        <p:cNvPr id="1" name=""/>
        <p:cNvGrpSpPr/>
        <p:nvPr/>
      </p:nvGrpSpPr>
      <p:grpSpPr>
        <a:xfrm>
          <a:off x="0" y="0"/>
          <a:ext cx="0" cy="0"/>
          <a:chOff x="0" y="0"/>
          <a:chExt cx="0" cy="0"/>
        </a:xfrm>
      </p:grpSpPr>
      <p:sp>
        <p:nvSpPr>
          <p:cNvPr id="5" name="Text Placeholder 2"/>
          <p:cNvSpPr>
            <a:spLocks noGrp="1"/>
          </p:cNvSpPr>
          <p:nvPr>
            <p:ph idx="11" hasCustomPrompt="1"/>
          </p:nvPr>
        </p:nvSpPr>
        <p:spPr>
          <a:xfrm>
            <a:off x="556939" y="1781056"/>
            <a:ext cx="11088962"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3194046572"/>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
        <p:nvSpPr>
          <p:cNvPr id="6" name="Text Placeholder 3"/>
          <p:cNvSpPr>
            <a:spLocks noGrp="1"/>
          </p:cNvSpPr>
          <p:nvPr>
            <p:ph type="body" sz="quarter" idx="12" hasCustomPrompt="1"/>
          </p:nvPr>
        </p:nvSpPr>
        <p:spPr>
          <a:xfrm>
            <a:off x="556097" y="1070523"/>
            <a:ext cx="5403483"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
        <p:nvSpPr>
          <p:cNvPr id="7" name="Title Placeholder 1"/>
          <p:cNvSpPr>
            <a:spLocks noGrp="1"/>
          </p:cNvSpPr>
          <p:nvPr>
            <p:ph type="title" hasCustomPrompt="1"/>
          </p:nvPr>
        </p:nvSpPr>
        <p:spPr>
          <a:xfrm>
            <a:off x="556097" y="336127"/>
            <a:ext cx="540348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defRPr>
            </a:lvl1pPr>
          </a:lstStyle>
          <a:p>
            <a:r>
              <a:rPr lang="en-US" dirty="0"/>
              <a:t>Title</a:t>
            </a:r>
          </a:p>
        </p:txBody>
      </p:sp>
    </p:spTree>
    <p:extLst>
      <p:ext uri="{BB962C8B-B14F-4D97-AF65-F5344CB8AC3E}">
        <p14:creationId xmlns:p14="http://schemas.microsoft.com/office/powerpoint/2010/main" val="1481150444"/>
      </p:ext>
    </p:extLst>
  </p:cSld>
  <p:clrMapOvr>
    <a:masterClrMapping/>
  </p:clrMapOvr>
  <p:transition spd="slow">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_&amp;_Subtitle_&amp;_pic">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094" y="336132"/>
            <a:ext cx="11336415" cy="727715"/>
          </a:xfrm>
          <a:prstGeom prst="rect">
            <a:avLst/>
          </a:prstGeom>
        </p:spPr>
        <p:txBody>
          <a:bodyPr vert="horz" lIns="0" tIns="0" rIns="0" bIns="0" rtlCol="0" anchor="ctr">
            <a:normAutofit/>
          </a:bodyPr>
          <a:lstStyle>
            <a:lvl1pPr>
              <a:defRPr sz="4000" b="1" spc="-150">
                <a:solidFill>
                  <a:schemeClr val="tx1">
                    <a:lumMod val="50000"/>
                  </a:schemeClr>
                </a:solidFill>
                <a:latin typeface="+mn-lt"/>
              </a:defRPr>
            </a:lvl1pPr>
          </a:lstStyle>
          <a:p>
            <a:r>
              <a:rPr lang="en-US" dirty="0"/>
              <a:t>Title</a:t>
            </a:r>
          </a:p>
        </p:txBody>
      </p:sp>
      <p:sp>
        <p:nvSpPr>
          <p:cNvPr id="4" name="Text Placeholder 3"/>
          <p:cNvSpPr>
            <a:spLocks noGrp="1"/>
          </p:cNvSpPr>
          <p:nvPr>
            <p:ph type="body" sz="quarter" idx="12" hasCustomPrompt="1"/>
          </p:nvPr>
        </p:nvSpPr>
        <p:spPr>
          <a:xfrm>
            <a:off x="556095" y="1070528"/>
            <a:ext cx="11336414"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
        <p:nvSpPr>
          <p:cNvPr id="6" name="Picture Placeholder 5"/>
          <p:cNvSpPr>
            <a:spLocks noGrp="1"/>
          </p:cNvSpPr>
          <p:nvPr>
            <p:ph type="pic" sz="quarter" idx="13"/>
          </p:nvPr>
        </p:nvSpPr>
        <p:spPr>
          <a:xfrm>
            <a:off x="0" y="2365375"/>
            <a:ext cx="12192000" cy="4492625"/>
          </a:xfrm>
          <a:prstGeom prst="rect">
            <a:avLst/>
          </a:prstGeom>
        </p:spPr>
        <p:txBody>
          <a:bodyPr/>
          <a:lstStyle>
            <a:lvl1pPr>
              <a:defRPr>
                <a:solidFill>
                  <a:schemeClr val="tx1">
                    <a:lumMod val="50000"/>
                  </a:schemeClr>
                </a:solidFill>
              </a:defRPr>
            </a:lvl1pPr>
          </a:lstStyle>
          <a:p>
            <a:r>
              <a:rPr lang="en-US" dirty="0"/>
              <a:t>Click icon to add picture</a:t>
            </a:r>
          </a:p>
        </p:txBody>
      </p:sp>
    </p:spTree>
    <p:extLst>
      <p:ext uri="{BB962C8B-B14F-4D97-AF65-F5344CB8AC3E}">
        <p14:creationId xmlns:p14="http://schemas.microsoft.com/office/powerpoint/2010/main" val="1069523434"/>
      </p:ext>
    </p:extLst>
  </p:cSld>
  <p:clrMapOvr>
    <a:masterClrMapping/>
  </p:clrMapOvr>
  <p:transition spd="slow">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_&amp;_Subtitl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49617" y="135554"/>
            <a:ext cx="10527933" cy="727715"/>
          </a:xfrm>
          <a:prstGeom prst="rect">
            <a:avLst/>
          </a:prstGeom>
        </p:spPr>
        <p:txBody>
          <a:bodyPr vert="horz" lIns="0" tIns="0" rIns="0" bIns="0" rtlCol="0" anchor="ctr">
            <a:normAutofit/>
          </a:bodyPr>
          <a:lstStyle>
            <a:lvl1pPr>
              <a:defRPr sz="4000">
                <a:solidFill>
                  <a:schemeClr val="tx1"/>
                </a:solidFill>
              </a:defRPr>
            </a:lvl1pPr>
          </a:lstStyle>
          <a:p>
            <a:r>
              <a:rPr lang="en-US" dirty="0"/>
              <a:t>Title</a:t>
            </a:r>
          </a:p>
        </p:txBody>
      </p:sp>
      <p:sp>
        <p:nvSpPr>
          <p:cNvPr id="4" name="Text Placeholder 3"/>
          <p:cNvSpPr>
            <a:spLocks noGrp="1"/>
          </p:cNvSpPr>
          <p:nvPr>
            <p:ph type="body" sz="quarter" idx="12" hasCustomPrompt="1"/>
          </p:nvPr>
        </p:nvSpPr>
        <p:spPr>
          <a:xfrm>
            <a:off x="349616" y="869950"/>
            <a:ext cx="10527237" cy="399984"/>
          </a:xfrm>
          <a:prstGeom prst="rect">
            <a:avLst/>
          </a:prstGeom>
        </p:spPr>
        <p:txBody>
          <a:bodyPr lIns="0" tIns="0" rIns="0" bIns="0">
            <a:noAutofit/>
          </a:bodyPr>
          <a:lstStyle>
            <a:lvl1pPr>
              <a:lnSpc>
                <a:spcPts val="2000"/>
              </a:lnSpc>
              <a:defRPr sz="2000">
                <a:solidFill>
                  <a:srgbClr val="505050"/>
                </a:solidFill>
                <a:latin typeface="+mj-lt"/>
              </a:defRPr>
            </a:lvl1pPr>
          </a:lstStyle>
          <a:p>
            <a:pPr lvl="0"/>
            <a:r>
              <a:rPr lang="en-US" dirty="0"/>
              <a:t>Subtitle</a:t>
            </a:r>
          </a:p>
        </p:txBody>
      </p:sp>
    </p:spTree>
    <p:extLst>
      <p:ext uri="{BB962C8B-B14F-4D97-AF65-F5344CB8AC3E}">
        <p14:creationId xmlns:p14="http://schemas.microsoft.com/office/powerpoint/2010/main" val="1600326219"/>
      </p:ext>
    </p:extLst>
  </p:cSld>
  <p:clrMapOvr>
    <a:masterClrMapping/>
  </p:clrMapOvr>
  <p:transition spd="slow">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_&amp;_Subtitle_&amp;_pic">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49617" y="135554"/>
            <a:ext cx="10613658" cy="727715"/>
          </a:xfrm>
          <a:prstGeom prst="rect">
            <a:avLst/>
          </a:prstGeom>
        </p:spPr>
        <p:txBody>
          <a:bodyPr vert="horz" lIns="0" tIns="0" rIns="0" bIns="0" rtlCol="0" anchor="ctr">
            <a:normAutofit/>
          </a:bodyPr>
          <a:lstStyle>
            <a:lvl1pPr>
              <a:defRPr sz="4000">
                <a:solidFill>
                  <a:schemeClr val="tx1">
                    <a:lumMod val="75000"/>
                  </a:schemeClr>
                </a:solidFill>
              </a:defRPr>
            </a:lvl1pPr>
          </a:lstStyle>
          <a:p>
            <a:r>
              <a:rPr lang="en-US" dirty="0"/>
              <a:t>Title</a:t>
            </a:r>
          </a:p>
        </p:txBody>
      </p:sp>
      <p:sp>
        <p:nvSpPr>
          <p:cNvPr id="4" name="Text Placeholder 3"/>
          <p:cNvSpPr>
            <a:spLocks noGrp="1"/>
          </p:cNvSpPr>
          <p:nvPr>
            <p:ph type="body" sz="quarter" idx="12" hasCustomPrompt="1"/>
          </p:nvPr>
        </p:nvSpPr>
        <p:spPr>
          <a:xfrm>
            <a:off x="349617" y="869950"/>
            <a:ext cx="10612956" cy="399984"/>
          </a:xfrm>
          <a:prstGeom prst="rect">
            <a:avLst/>
          </a:prstGeom>
        </p:spPr>
        <p:txBody>
          <a:bodyPr lIns="0" tIns="0" rIns="0" bIns="0">
            <a:noAutofit/>
          </a:bodyPr>
          <a:lstStyle>
            <a:lvl1pPr>
              <a:lnSpc>
                <a:spcPts val="2000"/>
              </a:lnSpc>
              <a:defRPr sz="2000">
                <a:solidFill>
                  <a:srgbClr val="505050"/>
                </a:solidFill>
                <a:latin typeface="+mj-lt"/>
              </a:defRPr>
            </a:lvl1pPr>
          </a:lstStyle>
          <a:p>
            <a:pPr lvl="0"/>
            <a:r>
              <a:rPr lang="en-US" dirty="0"/>
              <a:t>Subtitle</a:t>
            </a:r>
          </a:p>
        </p:txBody>
      </p:sp>
      <p:sp>
        <p:nvSpPr>
          <p:cNvPr id="6" name="Picture Placeholder 5"/>
          <p:cNvSpPr>
            <a:spLocks noGrp="1"/>
          </p:cNvSpPr>
          <p:nvPr>
            <p:ph type="pic" sz="quarter" idx="13"/>
          </p:nvPr>
        </p:nvSpPr>
        <p:spPr>
          <a:xfrm>
            <a:off x="0" y="2365375"/>
            <a:ext cx="12192000" cy="4492625"/>
          </a:xfrm>
          <a:prstGeom prst="rect">
            <a:avLst/>
          </a:prstGeom>
        </p:spPr>
        <p:txBody>
          <a:bodyPr/>
          <a:lstStyle>
            <a:lvl1pPr>
              <a:defRPr>
                <a:solidFill>
                  <a:schemeClr val="tx1">
                    <a:lumMod val="75000"/>
                  </a:schemeClr>
                </a:solidFill>
              </a:defRPr>
            </a:lvl1pPr>
          </a:lstStyle>
          <a:p>
            <a:r>
              <a:rPr lang="en-US" dirty="0"/>
              <a:t>Click icon to add picture</a:t>
            </a:r>
          </a:p>
        </p:txBody>
      </p:sp>
    </p:spTree>
    <p:extLst>
      <p:ext uri="{BB962C8B-B14F-4D97-AF65-F5344CB8AC3E}">
        <p14:creationId xmlns:p14="http://schemas.microsoft.com/office/powerpoint/2010/main" val="446993502"/>
      </p:ext>
    </p:extLst>
  </p:cSld>
  <p:clrMapOvr>
    <a:masterClrMapping/>
  </p:clrMapOvr>
  <p:transition spd="slow">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
        <p:nvSpPr>
          <p:cNvPr id="6" name="Text Placeholder 3"/>
          <p:cNvSpPr>
            <a:spLocks noGrp="1"/>
          </p:cNvSpPr>
          <p:nvPr>
            <p:ph type="body" sz="quarter" idx="12" hasCustomPrompt="1"/>
          </p:nvPr>
        </p:nvSpPr>
        <p:spPr>
          <a:xfrm>
            <a:off x="349617" y="869950"/>
            <a:ext cx="5403483" cy="399984"/>
          </a:xfrm>
          <a:prstGeom prst="rect">
            <a:avLst/>
          </a:prstGeom>
        </p:spPr>
        <p:txBody>
          <a:bodyPr lIns="0" tIns="0" rIns="0" bIns="0">
            <a:noAutofit/>
          </a:bodyPr>
          <a:lstStyle>
            <a:lvl1pPr>
              <a:lnSpc>
                <a:spcPts val="2000"/>
              </a:lnSpc>
              <a:defRPr sz="2000">
                <a:solidFill>
                  <a:srgbClr val="505050"/>
                </a:solidFill>
                <a:latin typeface="+mj-lt"/>
              </a:defRPr>
            </a:lvl1pPr>
          </a:lstStyle>
          <a:p>
            <a:pPr lvl="0"/>
            <a:r>
              <a:rPr lang="en-US" dirty="0"/>
              <a:t>Subtitle</a:t>
            </a:r>
          </a:p>
        </p:txBody>
      </p:sp>
      <p:sp>
        <p:nvSpPr>
          <p:cNvPr id="7" name="Title Placeholder 1"/>
          <p:cNvSpPr>
            <a:spLocks noGrp="1"/>
          </p:cNvSpPr>
          <p:nvPr>
            <p:ph type="title" hasCustomPrompt="1"/>
          </p:nvPr>
        </p:nvSpPr>
        <p:spPr>
          <a:xfrm>
            <a:off x="349617" y="135554"/>
            <a:ext cx="5403483" cy="727715"/>
          </a:xfrm>
          <a:prstGeom prst="rect">
            <a:avLst/>
          </a:prstGeom>
        </p:spPr>
        <p:txBody>
          <a:bodyPr vert="horz" lIns="0" tIns="0" rIns="0" bIns="0" rtlCol="0" anchor="ctr">
            <a:normAutofit/>
          </a:bodyPr>
          <a:lstStyle>
            <a:lvl1pPr>
              <a:defRPr sz="4000">
                <a:solidFill>
                  <a:schemeClr val="tx1">
                    <a:lumMod val="75000"/>
                  </a:schemeClr>
                </a:solidFill>
              </a:defRPr>
            </a:lvl1pPr>
          </a:lstStyle>
          <a:p>
            <a:r>
              <a:rPr lang="en-US" dirty="0"/>
              <a:t>Title</a:t>
            </a:r>
          </a:p>
        </p:txBody>
      </p:sp>
    </p:spTree>
    <p:extLst>
      <p:ext uri="{BB962C8B-B14F-4D97-AF65-F5344CB8AC3E}">
        <p14:creationId xmlns:p14="http://schemas.microsoft.com/office/powerpoint/2010/main" val="878783313"/>
      </p:ext>
    </p:extLst>
  </p:cSld>
  <p:clrMapOvr>
    <a:masterClrMapping/>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Background_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a:ext>
            </a:extLst>
          </a:blip>
          <a:srcRect t="15393"/>
          <a:stretch/>
        </p:blipFill>
        <p:spPr>
          <a:xfrm>
            <a:off x="0" y="0"/>
            <a:ext cx="12192000" cy="6880312"/>
          </a:xfrm>
          <a:prstGeom prst="rect">
            <a:avLst/>
          </a:prstGeom>
        </p:spPr>
      </p:pic>
      <p:sp>
        <p:nvSpPr>
          <p:cNvPr id="26" name="Rectangle 25"/>
          <p:cNvSpPr/>
          <p:nvPr userDrawn="1"/>
        </p:nvSpPr>
        <p:spPr bwMode="auto">
          <a:xfrm>
            <a:off x="272353" y="291071"/>
            <a:ext cx="6271860" cy="6275863"/>
          </a:xfrm>
          <a:prstGeom prst="rect">
            <a:avLst/>
          </a:prstGeom>
          <a:solidFill>
            <a:schemeClr val="bg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Title 1"/>
          <p:cNvSpPr>
            <a:spLocks noGrp="1"/>
          </p:cNvSpPr>
          <p:nvPr>
            <p:ph type="ctrTitle" hasCustomPrompt="1"/>
          </p:nvPr>
        </p:nvSpPr>
        <p:spPr>
          <a:xfrm>
            <a:off x="319602" y="1428402"/>
            <a:ext cx="5768774" cy="879910"/>
          </a:xfrm>
          <a:prstGeom prst="rect">
            <a:avLst/>
          </a:prstGeom>
        </p:spPr>
        <p:txBody>
          <a:bodyPr>
            <a:noAutofit/>
          </a:bodyPr>
          <a:lstStyle>
            <a:lvl1pPr>
              <a:defRPr sz="5000" baseline="0">
                <a:solidFill>
                  <a:schemeClr val="tx1"/>
                </a:solidFill>
              </a:defRPr>
            </a:lvl1pPr>
          </a:lstStyle>
          <a:p>
            <a:r>
              <a:rPr lang="en-US" dirty="0"/>
              <a:t>Headline here, second line here</a:t>
            </a:r>
          </a:p>
        </p:txBody>
      </p:sp>
      <p:sp>
        <p:nvSpPr>
          <p:cNvPr id="19" name="Subtitle 2"/>
          <p:cNvSpPr>
            <a:spLocks noGrp="1"/>
          </p:cNvSpPr>
          <p:nvPr>
            <p:ph type="subTitle" idx="1" hasCustomPrompt="1"/>
          </p:nvPr>
        </p:nvSpPr>
        <p:spPr>
          <a:xfrm>
            <a:off x="319661" y="4353453"/>
            <a:ext cx="5768707" cy="1034782"/>
          </a:xfrm>
          <a:prstGeom prst="rect">
            <a:avLst/>
          </a:prstGeom>
        </p:spPr>
        <p:txBody>
          <a:bodyPr>
            <a:normAutofit/>
          </a:bodyPr>
          <a:lstStyle>
            <a:lvl1pPr marL="0" indent="0" algn="l">
              <a:lnSpc>
                <a:spcPts val="2200"/>
              </a:lnSpc>
              <a:buNone/>
              <a:defRPr sz="1800">
                <a:solidFill>
                  <a:schemeClr val="tx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peaker Name</a:t>
            </a:r>
            <a:br>
              <a:rPr lang="en-US" dirty="0"/>
            </a:br>
            <a:r>
              <a:rPr lang="en-US" dirty="0"/>
              <a:t>Date</a:t>
            </a:r>
          </a:p>
        </p:txBody>
      </p:sp>
      <p:sp>
        <p:nvSpPr>
          <p:cNvPr id="21" name="Text Placeholder 7"/>
          <p:cNvSpPr>
            <a:spLocks noGrp="1"/>
          </p:cNvSpPr>
          <p:nvPr>
            <p:ph type="body" sz="quarter" idx="10" hasCustomPrompt="1"/>
          </p:nvPr>
        </p:nvSpPr>
        <p:spPr>
          <a:xfrm>
            <a:off x="322713" y="2997067"/>
            <a:ext cx="5783797" cy="863866"/>
          </a:xfrm>
          <a:prstGeom prst="rect">
            <a:avLst/>
          </a:prstGeom>
        </p:spPr>
        <p:txBody>
          <a:bodyPr>
            <a:normAutofit/>
          </a:bodyPr>
          <a:lstStyle>
            <a:lvl1pPr marL="0" indent="0">
              <a:buNone/>
              <a:defRPr sz="2800" baseline="0">
                <a:solidFill>
                  <a:schemeClr val="tx1"/>
                </a:solidFill>
                <a:latin typeface="+mj-lt"/>
              </a:defRPr>
            </a:lvl1pPr>
            <a:lvl2pPr marL="336080" indent="0">
              <a:buNone/>
              <a:defRPr sz="1567">
                <a:solidFill>
                  <a:schemeClr val="bg1"/>
                </a:solidFill>
                <a:latin typeface="+mj-lt"/>
              </a:defRPr>
            </a:lvl2pPr>
            <a:lvl3pPr marL="560134" indent="0">
              <a:buNone/>
              <a:defRPr sz="1371">
                <a:solidFill>
                  <a:schemeClr val="bg1"/>
                </a:solidFill>
                <a:latin typeface="+mj-lt"/>
              </a:defRPr>
            </a:lvl3pPr>
            <a:lvl4pPr marL="784187" indent="0">
              <a:buNone/>
              <a:defRPr sz="1175">
                <a:solidFill>
                  <a:schemeClr val="bg1"/>
                </a:solidFill>
                <a:latin typeface="+mj-lt"/>
              </a:defRPr>
            </a:lvl4pPr>
            <a:lvl5pPr marL="1008241" indent="0">
              <a:buNone/>
              <a:defRPr sz="1175">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4150827641"/>
      </p:ext>
    </p:extLst>
  </p:cSld>
  <p:clrMapOvr>
    <a:masterClrMapping/>
  </p:clrMapOvr>
  <p:transition spd="slow">
    <p:fade/>
  </p:transition>
  <p:extLst mod="1">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_&amp;_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4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Placeholder 1"/>
          <p:cNvSpPr>
            <a:spLocks noGrp="1"/>
          </p:cNvSpPr>
          <p:nvPr>
            <p:ph type="title" hasCustomPrompt="1"/>
          </p:nvPr>
        </p:nvSpPr>
        <p:spPr>
          <a:xfrm>
            <a:off x="349617" y="135554"/>
            <a:ext cx="11387524" cy="727715"/>
          </a:xfrm>
          <a:prstGeom prst="rect">
            <a:avLst/>
          </a:prstGeom>
        </p:spPr>
        <p:txBody>
          <a:bodyPr vert="horz" lIns="0" tIns="0" rIns="0" bIns="0" rtlCol="0" anchor="ctr">
            <a:normAutofit/>
          </a:bodyPr>
          <a:lstStyle>
            <a:lvl1pPr>
              <a:defRPr sz="4000">
                <a:solidFill>
                  <a:schemeClr val="tx1">
                    <a:lumMod val="50000"/>
                  </a:schemeClr>
                </a:solidFill>
              </a:defRPr>
            </a:lvl1pPr>
          </a:lstStyle>
          <a:p>
            <a:r>
              <a:rPr lang="en-US" dirty="0"/>
              <a:t>Title</a:t>
            </a:r>
          </a:p>
        </p:txBody>
      </p:sp>
      <p:sp>
        <p:nvSpPr>
          <p:cNvPr id="6" name="Text Placeholder 3"/>
          <p:cNvSpPr>
            <a:spLocks noGrp="1"/>
          </p:cNvSpPr>
          <p:nvPr>
            <p:ph type="body" sz="quarter" idx="12" hasCustomPrompt="1"/>
          </p:nvPr>
        </p:nvSpPr>
        <p:spPr>
          <a:xfrm>
            <a:off x="349616" y="869950"/>
            <a:ext cx="11386771" cy="399984"/>
          </a:xfrm>
          <a:prstGeom prst="rect">
            <a:avLst/>
          </a:prstGeom>
        </p:spPr>
        <p:txBody>
          <a:bodyPr lIns="0" tIns="0" rIns="0" bIns="0">
            <a:noAutofit/>
          </a:bodyPr>
          <a:lstStyle>
            <a:lvl1pPr>
              <a:lnSpc>
                <a:spcPts val="2000"/>
              </a:lnSpc>
              <a:defRPr sz="2000">
                <a:solidFill>
                  <a:schemeClr val="tx1">
                    <a:lumMod val="50000"/>
                  </a:schemeClr>
                </a:solidFill>
                <a:latin typeface="+mj-lt"/>
              </a:defRPr>
            </a:lvl1pPr>
          </a:lstStyle>
          <a:p>
            <a:pPr lvl="0"/>
            <a:r>
              <a:rPr lang="en-US" dirty="0"/>
              <a:t>Subtitle</a:t>
            </a:r>
          </a:p>
        </p:txBody>
      </p:sp>
    </p:spTree>
    <p:extLst>
      <p:ext uri="{BB962C8B-B14F-4D97-AF65-F5344CB8AC3E}">
        <p14:creationId xmlns:p14="http://schemas.microsoft.com/office/powerpoint/2010/main" val="2467172647"/>
      </p:ext>
    </p:extLst>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wo_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6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Placeholder 1"/>
          <p:cNvSpPr>
            <a:spLocks noGrp="1"/>
          </p:cNvSpPr>
          <p:nvPr>
            <p:ph type="title" hasCustomPrompt="1"/>
          </p:nvPr>
        </p:nvSpPr>
        <p:spPr>
          <a:xfrm>
            <a:off x="349617" y="135554"/>
            <a:ext cx="11387524" cy="727715"/>
          </a:xfrm>
          <a:prstGeom prst="rect">
            <a:avLst/>
          </a:prstGeom>
        </p:spPr>
        <p:txBody>
          <a:bodyPr vert="horz" lIns="0" tIns="0" rIns="0" bIns="0" rtlCol="0" anchor="ctr">
            <a:normAutofit/>
          </a:bodyPr>
          <a:lstStyle>
            <a:lvl1pPr>
              <a:defRPr sz="4000">
                <a:solidFill>
                  <a:schemeClr val="tx1">
                    <a:lumMod val="50000"/>
                  </a:schemeClr>
                </a:solidFill>
              </a:defRPr>
            </a:lvl1pPr>
          </a:lstStyle>
          <a:p>
            <a:r>
              <a:rPr lang="en-US" dirty="0"/>
              <a:t>Title</a:t>
            </a:r>
          </a:p>
        </p:txBody>
      </p:sp>
      <p:sp>
        <p:nvSpPr>
          <p:cNvPr id="11" name="Text Placeholder 2"/>
          <p:cNvSpPr>
            <a:spLocks noGrp="1"/>
          </p:cNvSpPr>
          <p:nvPr>
            <p:ph idx="11" hasCustomPrompt="1"/>
          </p:nvPr>
        </p:nvSpPr>
        <p:spPr>
          <a:xfrm>
            <a:off x="349617" y="1600096"/>
            <a:ext cx="5465441" cy="4526342"/>
          </a:xfrm>
          <a:prstGeom prst="rect">
            <a:avLst/>
          </a:prstGeom>
        </p:spPr>
        <p:txBody>
          <a:bodyPr vert="horz" lIns="0" tIns="0" rIns="0" bIns="0" rtlCol="0">
            <a:normAutofit/>
          </a:bodyPr>
          <a:lstStyle>
            <a:lvl1pPr marL="0" indent="0">
              <a:buFont typeface="Arial" panose="020B0604020202020204" pitchFamily="34" charset="0"/>
              <a:buNone/>
              <a:defRPr sz="3000">
                <a:solidFill>
                  <a:srgbClr val="505050"/>
                </a:solidFill>
                <a:latin typeface="+mj-lt"/>
              </a:defRPr>
            </a:lvl1pPr>
            <a:lvl2pPr marL="448107" indent="0">
              <a:buFontTx/>
              <a:buNone/>
              <a:defRPr sz="2500">
                <a:solidFill>
                  <a:srgbClr val="505050"/>
                </a:solidFill>
                <a:latin typeface="+mj-lt"/>
              </a:defRPr>
            </a:lvl2pPr>
            <a:lvl3pPr marL="1120268" indent="-224054">
              <a:buFont typeface="Wingdings" charset="2"/>
              <a:buChar char="§"/>
              <a:defRPr sz="1800">
                <a:solidFill>
                  <a:srgbClr val="505050"/>
                </a:solidFill>
              </a:defRPr>
            </a:lvl3pPr>
            <a:lvl4pPr marL="1568375" indent="-224054">
              <a:buFont typeface="Arial"/>
              <a:buChar char="•"/>
              <a:defRPr sz="1600">
                <a:solidFill>
                  <a:srgbClr val="505050"/>
                </a:solidFill>
              </a:defRPr>
            </a:lvl4pPr>
            <a:lvl5pPr marL="2016482" indent="-224054">
              <a:buSzPct val="50000"/>
              <a:buFont typeface="Wingdings" charset="2"/>
              <a:buChar char=""/>
              <a:defRPr sz="1400">
                <a:solidFill>
                  <a:srgbClr val="505050"/>
                </a:solidFill>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3"/>
          <p:cNvSpPr>
            <a:spLocks noGrp="1"/>
          </p:cNvSpPr>
          <p:nvPr>
            <p:ph type="body" sz="quarter" idx="12" hasCustomPrompt="1"/>
          </p:nvPr>
        </p:nvSpPr>
        <p:spPr>
          <a:xfrm>
            <a:off x="349616" y="869950"/>
            <a:ext cx="11386771" cy="399984"/>
          </a:xfrm>
          <a:prstGeom prst="rect">
            <a:avLst/>
          </a:prstGeom>
        </p:spPr>
        <p:txBody>
          <a:bodyPr lIns="0" tIns="0" rIns="0" bIns="0">
            <a:noAutofit/>
          </a:bodyPr>
          <a:lstStyle>
            <a:lvl1pPr>
              <a:lnSpc>
                <a:spcPts val="2000"/>
              </a:lnSpc>
              <a:defRPr sz="2000">
                <a:solidFill>
                  <a:schemeClr val="tx1">
                    <a:lumMod val="50000"/>
                  </a:schemeClr>
                </a:solidFill>
                <a:latin typeface="+mj-lt"/>
              </a:defRPr>
            </a:lvl1pPr>
          </a:lstStyle>
          <a:p>
            <a:pPr lvl="0"/>
            <a:r>
              <a:rPr lang="en-US" dirty="0"/>
              <a:t>Subtitle</a:t>
            </a:r>
          </a:p>
        </p:txBody>
      </p:sp>
      <p:sp>
        <p:nvSpPr>
          <p:cNvPr id="13" name="Text Placeholder 2"/>
          <p:cNvSpPr>
            <a:spLocks noGrp="1"/>
          </p:cNvSpPr>
          <p:nvPr>
            <p:ph idx="13" hasCustomPrompt="1"/>
          </p:nvPr>
        </p:nvSpPr>
        <p:spPr>
          <a:xfrm>
            <a:off x="6271701" y="1600096"/>
            <a:ext cx="5465441" cy="4526342"/>
          </a:xfrm>
          <a:prstGeom prst="rect">
            <a:avLst/>
          </a:prstGeom>
        </p:spPr>
        <p:txBody>
          <a:bodyPr vert="horz" lIns="0" tIns="0" rIns="0" bIns="0" rtlCol="0">
            <a:normAutofit/>
          </a:bodyPr>
          <a:lstStyle>
            <a:lvl1pPr marL="0" indent="0">
              <a:buFont typeface="Arial" panose="020B0604020202020204" pitchFamily="34" charset="0"/>
              <a:buNone/>
              <a:defRPr sz="3000">
                <a:solidFill>
                  <a:srgbClr val="505050"/>
                </a:solidFill>
                <a:latin typeface="+mj-lt"/>
              </a:defRPr>
            </a:lvl1pPr>
            <a:lvl2pPr marL="448107" indent="0">
              <a:buFontTx/>
              <a:buNone/>
              <a:defRPr sz="2500">
                <a:solidFill>
                  <a:srgbClr val="505050"/>
                </a:solidFill>
                <a:latin typeface="+mj-lt"/>
              </a:defRPr>
            </a:lvl2pPr>
            <a:lvl3pPr marL="1120268" indent="-224054">
              <a:buFont typeface="Wingdings" charset="2"/>
              <a:buChar char="§"/>
              <a:defRPr sz="1800">
                <a:solidFill>
                  <a:srgbClr val="505050"/>
                </a:solidFill>
              </a:defRPr>
            </a:lvl3pPr>
            <a:lvl4pPr marL="1568375" indent="-224054">
              <a:buFont typeface="Arial"/>
              <a:buChar char="•"/>
              <a:defRPr sz="1600">
                <a:solidFill>
                  <a:srgbClr val="505050"/>
                </a:solidFill>
              </a:defRPr>
            </a:lvl4pPr>
            <a:lvl5pPr marL="2016482" indent="-224054">
              <a:buSzPct val="50000"/>
              <a:buFont typeface="Wingdings" charset="2"/>
              <a:buChar char=""/>
              <a:defRPr sz="1400">
                <a:solidFill>
                  <a:srgbClr val="505050"/>
                </a:solidFill>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65106796"/>
      </p:ext>
    </p:extLst>
  </p:cSld>
  <p:clrMapOvr>
    <a:masterClrMapping/>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4_Background_1">
    <p:spTree>
      <p:nvGrpSpPr>
        <p:cNvPr id="1" name=""/>
        <p:cNvGrpSpPr/>
        <p:nvPr/>
      </p:nvGrpSpPr>
      <p:grpSpPr>
        <a:xfrm>
          <a:off x="0" y="0"/>
          <a:ext cx="0" cy="0"/>
          <a:chOff x="0" y="0"/>
          <a:chExt cx="0" cy="0"/>
        </a:xfrm>
      </p:grpSpPr>
      <p:sp>
        <p:nvSpPr>
          <p:cNvPr id="26" name="Rectangle 25"/>
          <p:cNvSpPr/>
          <p:nvPr userDrawn="1"/>
        </p:nvSpPr>
        <p:spPr bwMode="auto">
          <a:xfrm>
            <a:off x="272353" y="291071"/>
            <a:ext cx="6271860" cy="6275863"/>
          </a:xfrm>
          <a:prstGeom prst="rect">
            <a:avLst/>
          </a:prstGeom>
          <a:solidFill>
            <a:schemeClr val="bg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Title 1"/>
          <p:cNvSpPr>
            <a:spLocks noGrp="1"/>
          </p:cNvSpPr>
          <p:nvPr>
            <p:ph type="ctrTitle" hasCustomPrompt="1"/>
          </p:nvPr>
        </p:nvSpPr>
        <p:spPr>
          <a:xfrm>
            <a:off x="319602" y="1428402"/>
            <a:ext cx="5768774" cy="879910"/>
          </a:xfrm>
          <a:prstGeom prst="rect">
            <a:avLst/>
          </a:prstGeom>
        </p:spPr>
        <p:txBody>
          <a:bodyPr>
            <a:noAutofit/>
          </a:bodyPr>
          <a:lstStyle>
            <a:lvl1pPr>
              <a:defRPr sz="5000" baseline="0">
                <a:solidFill>
                  <a:schemeClr val="tx1"/>
                </a:solidFill>
              </a:defRPr>
            </a:lvl1pPr>
          </a:lstStyle>
          <a:p>
            <a:r>
              <a:rPr lang="en-US" dirty="0"/>
              <a:t>Headline here, second line here</a:t>
            </a:r>
          </a:p>
        </p:txBody>
      </p:sp>
      <p:sp>
        <p:nvSpPr>
          <p:cNvPr id="19" name="Subtitle 2"/>
          <p:cNvSpPr>
            <a:spLocks noGrp="1"/>
          </p:cNvSpPr>
          <p:nvPr>
            <p:ph type="subTitle" idx="1" hasCustomPrompt="1"/>
          </p:nvPr>
        </p:nvSpPr>
        <p:spPr>
          <a:xfrm>
            <a:off x="319661" y="4353453"/>
            <a:ext cx="5768707" cy="1034782"/>
          </a:xfrm>
          <a:prstGeom prst="rect">
            <a:avLst/>
          </a:prstGeom>
        </p:spPr>
        <p:txBody>
          <a:bodyPr>
            <a:normAutofit/>
          </a:bodyPr>
          <a:lstStyle>
            <a:lvl1pPr marL="0" indent="0" algn="l">
              <a:lnSpc>
                <a:spcPts val="2200"/>
              </a:lnSpc>
              <a:buNone/>
              <a:defRPr sz="1800">
                <a:solidFill>
                  <a:schemeClr val="tx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peaker Name</a:t>
            </a:r>
            <a:br>
              <a:rPr lang="en-US" dirty="0"/>
            </a:br>
            <a:r>
              <a:rPr lang="en-US" dirty="0"/>
              <a:t>Date</a:t>
            </a:r>
          </a:p>
        </p:txBody>
      </p:sp>
      <p:sp>
        <p:nvSpPr>
          <p:cNvPr id="21" name="Text Placeholder 7"/>
          <p:cNvSpPr>
            <a:spLocks noGrp="1"/>
          </p:cNvSpPr>
          <p:nvPr>
            <p:ph type="body" sz="quarter" idx="10" hasCustomPrompt="1"/>
          </p:nvPr>
        </p:nvSpPr>
        <p:spPr>
          <a:xfrm>
            <a:off x="322713" y="2997067"/>
            <a:ext cx="5783797" cy="863866"/>
          </a:xfrm>
          <a:prstGeom prst="rect">
            <a:avLst/>
          </a:prstGeom>
        </p:spPr>
        <p:txBody>
          <a:bodyPr>
            <a:normAutofit/>
          </a:bodyPr>
          <a:lstStyle>
            <a:lvl1pPr marL="0" indent="0">
              <a:buNone/>
              <a:defRPr sz="2800" baseline="0">
                <a:solidFill>
                  <a:schemeClr val="tx1"/>
                </a:solidFill>
                <a:latin typeface="+mj-lt"/>
              </a:defRPr>
            </a:lvl1pPr>
            <a:lvl2pPr marL="336080" indent="0">
              <a:buNone/>
              <a:defRPr sz="1567">
                <a:solidFill>
                  <a:schemeClr val="bg1"/>
                </a:solidFill>
                <a:latin typeface="+mj-lt"/>
              </a:defRPr>
            </a:lvl2pPr>
            <a:lvl3pPr marL="560134" indent="0">
              <a:buNone/>
              <a:defRPr sz="1371">
                <a:solidFill>
                  <a:schemeClr val="bg1"/>
                </a:solidFill>
                <a:latin typeface="+mj-lt"/>
              </a:defRPr>
            </a:lvl3pPr>
            <a:lvl4pPr marL="784187" indent="0">
              <a:buNone/>
              <a:defRPr sz="1175">
                <a:solidFill>
                  <a:schemeClr val="bg1"/>
                </a:solidFill>
                <a:latin typeface="+mj-lt"/>
              </a:defRPr>
            </a:lvl4pPr>
            <a:lvl5pPr marL="1008241" indent="0">
              <a:buNone/>
              <a:defRPr sz="1175">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1383560162"/>
      </p:ext>
    </p:extLst>
  </p:cSld>
  <p:clrMapOvr>
    <a:masterClrMapping/>
  </p:clrMapOvr>
  <p:transition spd="slow">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_&amp;_Subtitle_&amp;_pic">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4"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2315525868"/>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_&amp;_Subtitle_&amp;_pic">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4"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4113991815"/>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_&amp;_Subtitle_&amp;_Content">
    <p:spTree>
      <p:nvGrpSpPr>
        <p:cNvPr id="1" name=""/>
        <p:cNvGrpSpPr/>
        <p:nvPr/>
      </p:nvGrpSpPr>
      <p:grpSpPr>
        <a:xfrm>
          <a:off x="0" y="0"/>
          <a:ext cx="0" cy="0"/>
          <a:chOff x="0" y="0"/>
          <a:chExt cx="0" cy="0"/>
        </a:xfrm>
      </p:grpSpPr>
      <p:sp>
        <p:nvSpPr>
          <p:cNvPr id="5" name="Text Placeholder 2"/>
          <p:cNvSpPr>
            <a:spLocks noGrp="1"/>
          </p:cNvSpPr>
          <p:nvPr>
            <p:ph idx="11" hasCustomPrompt="1"/>
          </p:nvPr>
        </p:nvSpPr>
        <p:spPr>
          <a:xfrm>
            <a:off x="556939" y="1781056"/>
            <a:ext cx="11088962"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40718" y="6307398"/>
            <a:ext cx="1248159" cy="476891"/>
          </a:xfrm>
          <a:prstGeom prst="rect">
            <a:avLst/>
          </a:prstGeom>
        </p:spPr>
      </p:pic>
    </p:spTree>
    <p:extLst>
      <p:ext uri="{BB962C8B-B14F-4D97-AF65-F5344CB8AC3E}">
        <p14:creationId xmlns:p14="http://schemas.microsoft.com/office/powerpoint/2010/main" val="2812409575"/>
      </p:ext>
    </p:extLst>
  </p:cSld>
  <p:clrMapOvr>
    <a:masterClrMapping/>
  </p:clrMapOvr>
  <p:transition spd="slow">
    <p:fade/>
  </p:transition>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10315209"/>
              </p:ex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Text Placeholder 2"/>
          <p:cNvSpPr>
            <a:spLocks noGrp="1"/>
          </p:cNvSpPr>
          <p:nvPr>
            <p:ph idx="11" hasCustomPrompt="1"/>
          </p:nvPr>
        </p:nvSpPr>
        <p:spPr>
          <a:xfrm>
            <a:off x="552817" y="1792410"/>
            <a:ext cx="5465441"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p:cNvSpPr>
            <a:spLocks noGrp="1"/>
          </p:cNvSpPr>
          <p:nvPr>
            <p:ph idx="13" hasCustomPrompt="1"/>
          </p:nvPr>
        </p:nvSpPr>
        <p:spPr>
          <a:xfrm>
            <a:off x="6474902" y="1792410"/>
            <a:ext cx="5176614"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40718" y="6307398"/>
            <a:ext cx="1248159" cy="476891"/>
          </a:xfrm>
          <a:prstGeom prst="rect">
            <a:avLst/>
          </a:prstGeom>
        </p:spPr>
      </p:pic>
    </p:spTree>
    <p:extLst>
      <p:ext uri="{BB962C8B-B14F-4D97-AF65-F5344CB8AC3E}">
        <p14:creationId xmlns:p14="http://schemas.microsoft.com/office/powerpoint/2010/main" val="2434786964"/>
      </p:ext>
    </p:extLst>
  </p:cSld>
  <p:clrMapOvr>
    <a:masterClrMapping/>
  </p:clrMapOvr>
  <p:transition spd="slow">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
        <p:nvSpPr>
          <p:cNvPr id="6" name="Text Placeholder 3"/>
          <p:cNvSpPr>
            <a:spLocks noGrp="1"/>
          </p:cNvSpPr>
          <p:nvPr>
            <p:ph type="body" sz="quarter" idx="12" hasCustomPrompt="1"/>
          </p:nvPr>
        </p:nvSpPr>
        <p:spPr>
          <a:xfrm>
            <a:off x="556097" y="1070523"/>
            <a:ext cx="5403483"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
        <p:nvSpPr>
          <p:cNvPr id="7" name="Title Placeholder 1"/>
          <p:cNvSpPr>
            <a:spLocks noGrp="1"/>
          </p:cNvSpPr>
          <p:nvPr>
            <p:ph type="title" hasCustomPrompt="1"/>
          </p:nvPr>
        </p:nvSpPr>
        <p:spPr>
          <a:xfrm>
            <a:off x="556097" y="336127"/>
            <a:ext cx="540348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defRPr>
            </a:lvl1pPr>
          </a:lstStyle>
          <a:p>
            <a:r>
              <a:rPr lang="en-US" dirty="0"/>
              <a:t>Title</a:t>
            </a:r>
          </a:p>
        </p:txBody>
      </p:sp>
    </p:spTree>
    <p:extLst>
      <p:ext uri="{BB962C8B-B14F-4D97-AF65-F5344CB8AC3E}">
        <p14:creationId xmlns:p14="http://schemas.microsoft.com/office/powerpoint/2010/main" val="3007084294"/>
      </p:ext>
    </p:extLst>
  </p:cSld>
  <p:clrMapOvr>
    <a:masterClrMapping/>
  </p:clrMapOvr>
  <p:transition spd="slow">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slideLayout" Target="../slideLayouts/slideLayout39.xml"/><Relationship Id="rId7" Type="http://schemas.openxmlformats.org/officeDocument/2006/relationships/vmlDrawing" Target="../drawings/vmlDrawing14.v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theme" Target="../theme/theme10.xml"/><Relationship Id="rId5" Type="http://schemas.openxmlformats.org/officeDocument/2006/relationships/slideLayout" Target="../slideLayouts/slideLayout41.xml"/><Relationship Id="rId10" Type="http://schemas.openxmlformats.org/officeDocument/2006/relationships/image" Target="../media/image1.emf"/><Relationship Id="rId4" Type="http://schemas.openxmlformats.org/officeDocument/2006/relationships/slideLayout" Target="../slideLayouts/slideLayout40.xml"/><Relationship Id="rId9" Type="http://schemas.openxmlformats.org/officeDocument/2006/relationships/oleObject" Target="../embeddings/oleObject14.bin"/></Relationships>
</file>

<file path=ppt/slideMasters/_rels/slideMaster11.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slideLayout" Target="../slideLayouts/slideLayout44.xml"/><Relationship Id="rId7" Type="http://schemas.openxmlformats.org/officeDocument/2006/relationships/tags" Target="../tags/tag16.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vmlDrawing" Target="../drawings/vmlDrawing16.vml"/><Relationship Id="rId5" Type="http://schemas.openxmlformats.org/officeDocument/2006/relationships/theme" Target="../theme/theme11.xml"/><Relationship Id="rId4" Type="http://schemas.openxmlformats.org/officeDocument/2006/relationships/slideLayout" Target="../slideLayouts/slideLayout45.xml"/><Relationship Id="rId9"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8.xml"/><Relationship Id="rId7" Type="http://schemas.openxmlformats.org/officeDocument/2006/relationships/oleObject" Target="../embeddings/oleObject17.bin"/><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ags" Target="../tags/tag17.xml"/><Relationship Id="rId5" Type="http://schemas.openxmlformats.org/officeDocument/2006/relationships/vmlDrawing" Target="../drawings/vmlDrawing17.vml"/><Relationship Id="rId4" Type="http://schemas.openxmlformats.org/officeDocument/2006/relationships/theme" Target="../theme/theme12.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2.vml"/><Relationship Id="rId1" Type="http://schemas.openxmlformats.org/officeDocument/2006/relationships/theme" Target="../theme/theme2.xml"/><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xml"/><Relationship Id="rId7"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tags" Target="../tags/tag3.xml"/><Relationship Id="rId5" Type="http://schemas.openxmlformats.org/officeDocument/2006/relationships/vmlDrawing" Target="../drawings/vmlDrawing3.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image" Target="../media/image1.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oleObject" Target="../embeddings/oleObject4.bin"/><Relationship Id="rId5" Type="http://schemas.openxmlformats.org/officeDocument/2006/relationships/slideLayout" Target="../slideLayouts/slideLayout10.xml"/><Relationship Id="rId10" Type="http://schemas.openxmlformats.org/officeDocument/2006/relationships/tags" Target="../tags/tag4.xml"/><Relationship Id="rId4" Type="http://schemas.openxmlformats.org/officeDocument/2006/relationships/slideLayout" Target="../slideLayouts/slideLayout9.xml"/><Relationship Id="rId9"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oleObject" Target="../embeddings/oleObject6.bin"/><Relationship Id="rId5" Type="http://schemas.openxmlformats.org/officeDocument/2006/relationships/slideLayout" Target="../slideLayouts/slideLayout17.xml"/><Relationship Id="rId10" Type="http://schemas.openxmlformats.org/officeDocument/2006/relationships/tags" Target="../tags/tag6.xml"/><Relationship Id="rId4" Type="http://schemas.openxmlformats.org/officeDocument/2006/relationships/slideLayout" Target="../slideLayouts/slideLayout16.xml"/><Relationship Id="rId9" Type="http://schemas.openxmlformats.org/officeDocument/2006/relationships/vmlDrawing" Target="../drawings/vmlDrawing6.vml"/></Relationships>
</file>

<file path=ppt/slideMasters/_rels/slideMaster6.xml.rels><?xml version="1.0" encoding="UTF-8" standalone="yes"?>
<Relationships xmlns="http://schemas.openxmlformats.org/package/2006/relationships"><Relationship Id="rId3" Type="http://schemas.openxmlformats.org/officeDocument/2006/relationships/vmlDrawing" Target="../drawings/vmlDrawing8.vml"/><Relationship Id="rId2" Type="http://schemas.openxmlformats.org/officeDocument/2006/relationships/theme" Target="../theme/theme6.xml"/><Relationship Id="rId1" Type="http://schemas.openxmlformats.org/officeDocument/2006/relationships/slideLayout" Target="../slideLayouts/slideLayout20.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tags" Target="../tags/tag8.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image" Target="../media/image1.emf"/><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oleObject" Target="../embeddings/oleObject9.bin"/><Relationship Id="rId5" Type="http://schemas.openxmlformats.org/officeDocument/2006/relationships/slideLayout" Target="../slideLayouts/slideLayout25.xml"/><Relationship Id="rId10" Type="http://schemas.openxmlformats.org/officeDocument/2006/relationships/tags" Target="../tags/tag9.xml"/><Relationship Id="rId4" Type="http://schemas.openxmlformats.org/officeDocument/2006/relationships/slideLayout" Target="../slideLayouts/slideLayout24.xml"/><Relationship Id="rId9" Type="http://schemas.openxmlformats.org/officeDocument/2006/relationships/vmlDrawing" Target="../drawings/vmlDrawing9.v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0.xml"/><Relationship Id="rId7" Type="http://schemas.openxmlformats.org/officeDocument/2006/relationships/oleObject" Target="../embeddings/oleObject11.bin"/><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ags" Target="../tags/tag11.xml"/><Relationship Id="rId5" Type="http://schemas.openxmlformats.org/officeDocument/2006/relationships/vmlDrawing" Target="../drawings/vmlDrawing11.vml"/><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vmlDrawing" Target="../drawings/vmlDrawing12.vml"/><Relationship Id="rId3" Type="http://schemas.openxmlformats.org/officeDocument/2006/relationships/slideLayout" Target="../slideLayouts/slideLayout33.xml"/><Relationship Id="rId7" Type="http://schemas.openxmlformats.org/officeDocument/2006/relationships/theme" Target="../theme/theme9.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image" Target="../media/image1.emf"/><Relationship Id="rId5" Type="http://schemas.openxmlformats.org/officeDocument/2006/relationships/slideLayout" Target="../slideLayouts/slideLayout35.xml"/><Relationship Id="rId10" Type="http://schemas.openxmlformats.org/officeDocument/2006/relationships/oleObject" Target="../embeddings/oleObject12.bin"/><Relationship Id="rId4" Type="http://schemas.openxmlformats.org/officeDocument/2006/relationships/slideLayout" Target="../slideLayouts/slideLayout34.xml"/><Relationship Id="rId9" Type="http://schemas.openxmlformats.org/officeDocument/2006/relationships/tags" Target="../tags/tag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6"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57" y="1558"/>
                        <a:ext cx="1556" cy="1556"/>
                      </a:xfrm>
                      <a:prstGeom prst="rect">
                        <a:avLst/>
                      </a:prstGeom>
                    </p:spPr>
                  </p:pic>
                </p:oleObj>
              </mc:Fallback>
            </mc:AlternateContent>
          </a:graphicData>
        </a:graphic>
      </p:graphicFrame>
      <p:grpSp>
        <p:nvGrpSpPr>
          <p:cNvPr id="52" name="Group 51"/>
          <p:cNvGrpSpPr/>
          <p:nvPr userDrawn="1"/>
        </p:nvGrpSpPr>
        <p:grpSpPr>
          <a:xfrm>
            <a:off x="0" y="-3175"/>
            <a:ext cx="12192000" cy="6867525"/>
            <a:chOff x="0" y="-3175"/>
            <a:chExt cx="12192000" cy="6867525"/>
          </a:xfrm>
        </p:grpSpPr>
        <p:grpSp>
          <p:nvGrpSpPr>
            <p:cNvPr id="51" name="Group 50"/>
            <p:cNvGrpSpPr/>
            <p:nvPr userDrawn="1"/>
          </p:nvGrpSpPr>
          <p:grpSpPr>
            <a:xfrm>
              <a:off x="0" y="-3175"/>
              <a:ext cx="12192000" cy="6867525"/>
              <a:chOff x="0" y="-3175"/>
              <a:chExt cx="12192000" cy="6867525"/>
            </a:xfrm>
          </p:grpSpPr>
          <p:sp>
            <p:nvSpPr>
              <p:cNvPr id="45" name="AutoShape 58"/>
              <p:cNvSpPr>
                <a:spLocks noChangeAspect="1" noChangeArrowheads="1" noTextEdit="1"/>
              </p:cNvSpPr>
              <p:nvPr userDrawn="1"/>
            </p:nvSpPr>
            <p:spPr bwMode="auto">
              <a:xfrm>
                <a:off x="0" y="-3175"/>
                <a:ext cx="12192000" cy="68643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6" name="Freeform 60"/>
              <p:cNvSpPr>
                <a:spLocks/>
              </p:cNvSpPr>
              <p:nvPr userDrawn="1"/>
            </p:nvSpPr>
            <p:spPr bwMode="auto">
              <a:xfrm>
                <a:off x="3175" y="0"/>
                <a:ext cx="12185650" cy="6864350"/>
              </a:xfrm>
              <a:custGeom>
                <a:avLst/>
                <a:gdLst>
                  <a:gd name="T0" fmla="*/ 2620 w 7676"/>
                  <a:gd name="T1" fmla="*/ 0 h 4324"/>
                  <a:gd name="T2" fmla="*/ 3866 w 7676"/>
                  <a:gd name="T3" fmla="*/ 2987 h 4324"/>
                  <a:gd name="T4" fmla="*/ 0 w 7676"/>
                  <a:gd name="T5" fmla="*/ 2068 h 4324"/>
                  <a:gd name="T6" fmla="*/ 0 w 7676"/>
                  <a:gd name="T7" fmla="*/ 4324 h 4324"/>
                  <a:gd name="T8" fmla="*/ 7676 w 7676"/>
                  <a:gd name="T9" fmla="*/ 4324 h 4324"/>
                  <a:gd name="T10" fmla="*/ 7676 w 7676"/>
                  <a:gd name="T11" fmla="*/ 0 h 4324"/>
                  <a:gd name="T12" fmla="*/ 2620 w 7676"/>
                  <a:gd name="T13" fmla="*/ 0 h 4324"/>
                </a:gdLst>
                <a:ahLst/>
                <a:cxnLst>
                  <a:cxn ang="0">
                    <a:pos x="T0" y="T1"/>
                  </a:cxn>
                  <a:cxn ang="0">
                    <a:pos x="T2" y="T3"/>
                  </a:cxn>
                  <a:cxn ang="0">
                    <a:pos x="T4" y="T5"/>
                  </a:cxn>
                  <a:cxn ang="0">
                    <a:pos x="T6" y="T7"/>
                  </a:cxn>
                  <a:cxn ang="0">
                    <a:pos x="T8" y="T9"/>
                  </a:cxn>
                  <a:cxn ang="0">
                    <a:pos x="T10" y="T11"/>
                  </a:cxn>
                  <a:cxn ang="0">
                    <a:pos x="T12" y="T13"/>
                  </a:cxn>
                </a:cxnLst>
                <a:rect l="0" t="0" r="r" b="b"/>
                <a:pathLst>
                  <a:path w="7676" h="4324">
                    <a:moveTo>
                      <a:pt x="2620" y="0"/>
                    </a:moveTo>
                    <a:lnTo>
                      <a:pt x="3866" y="2987"/>
                    </a:lnTo>
                    <a:lnTo>
                      <a:pt x="0" y="2068"/>
                    </a:lnTo>
                    <a:lnTo>
                      <a:pt x="0" y="4324"/>
                    </a:lnTo>
                    <a:lnTo>
                      <a:pt x="7676" y="4324"/>
                    </a:lnTo>
                    <a:lnTo>
                      <a:pt x="7676" y="0"/>
                    </a:lnTo>
                    <a:lnTo>
                      <a:pt x="262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61"/>
              <p:cNvSpPr>
                <a:spLocks/>
              </p:cNvSpPr>
              <p:nvPr userDrawn="1"/>
            </p:nvSpPr>
            <p:spPr bwMode="auto">
              <a:xfrm>
                <a:off x="3144845" y="4029075"/>
                <a:ext cx="2989255" cy="1700213"/>
              </a:xfrm>
              <a:custGeom>
                <a:avLst/>
                <a:gdLst>
                  <a:gd name="T0" fmla="*/ 44 w 1874"/>
                  <a:gd name="T1" fmla="*/ 0 h 1071"/>
                  <a:gd name="T2" fmla="*/ 1874 w 1874"/>
                  <a:gd name="T3" fmla="*/ 447 h 1071"/>
                  <a:gd name="T4" fmla="*/ 276 w 1874"/>
                  <a:gd name="T5" fmla="*/ 1071 h 1071"/>
                  <a:gd name="T6" fmla="*/ 0 w 1874"/>
                  <a:gd name="T7" fmla="*/ 102 h 1071"/>
                  <a:gd name="T8" fmla="*/ 44 w 1874"/>
                  <a:gd name="T9" fmla="*/ 0 h 1071"/>
                  <a:gd name="connsiteX0" fmla="*/ 283 w 10048"/>
                  <a:gd name="connsiteY0" fmla="*/ 0 h 10000"/>
                  <a:gd name="connsiteX1" fmla="*/ 10048 w 10048"/>
                  <a:gd name="connsiteY1" fmla="*/ 4174 h 10000"/>
                  <a:gd name="connsiteX2" fmla="*/ 1521 w 10048"/>
                  <a:gd name="connsiteY2" fmla="*/ 10000 h 10000"/>
                  <a:gd name="connsiteX3" fmla="*/ 0 w 10048"/>
                  <a:gd name="connsiteY3" fmla="*/ 1134 h 10000"/>
                  <a:gd name="connsiteX4" fmla="*/ 283 w 1004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8" h="10000">
                    <a:moveTo>
                      <a:pt x="283" y="0"/>
                    </a:moveTo>
                    <a:lnTo>
                      <a:pt x="10048" y="4174"/>
                    </a:lnTo>
                    <a:lnTo>
                      <a:pt x="1521" y="10000"/>
                    </a:lnTo>
                    <a:lnTo>
                      <a:pt x="0" y="1134"/>
                    </a:lnTo>
                    <a:cubicBezTo>
                      <a:pt x="94" y="756"/>
                      <a:pt x="189" y="378"/>
                      <a:pt x="283" y="0"/>
                    </a:cubicBezTo>
                    <a:close/>
                  </a:path>
                </a:pathLst>
              </a:custGeom>
              <a:solidFill>
                <a:srgbClr val="C08FC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 name="Freeform 62"/>
              <p:cNvSpPr>
                <a:spLocks/>
              </p:cNvSpPr>
              <p:nvPr userDrawn="1"/>
            </p:nvSpPr>
            <p:spPr bwMode="auto">
              <a:xfrm>
                <a:off x="2286000" y="5716588"/>
                <a:ext cx="1612900" cy="928688"/>
              </a:xfrm>
              <a:custGeom>
                <a:avLst/>
                <a:gdLst>
                  <a:gd name="T0" fmla="*/ 0 w 1016"/>
                  <a:gd name="T1" fmla="*/ 333 h 585"/>
                  <a:gd name="T2" fmla="*/ 1016 w 1016"/>
                  <a:gd name="T3" fmla="*/ 585 h 585"/>
                  <a:gd name="T4" fmla="*/ 840 w 1016"/>
                  <a:gd name="T5" fmla="*/ 0 h 585"/>
                  <a:gd name="T6" fmla="*/ 0 w 1016"/>
                  <a:gd name="T7" fmla="*/ 333 h 585"/>
                </a:gdLst>
                <a:ahLst/>
                <a:cxnLst>
                  <a:cxn ang="0">
                    <a:pos x="T0" y="T1"/>
                  </a:cxn>
                  <a:cxn ang="0">
                    <a:pos x="T2" y="T3"/>
                  </a:cxn>
                  <a:cxn ang="0">
                    <a:pos x="T4" y="T5"/>
                  </a:cxn>
                  <a:cxn ang="0">
                    <a:pos x="T6" y="T7"/>
                  </a:cxn>
                </a:cxnLst>
                <a:rect l="0" t="0" r="r" b="b"/>
                <a:pathLst>
                  <a:path w="1016" h="585">
                    <a:moveTo>
                      <a:pt x="0" y="333"/>
                    </a:moveTo>
                    <a:lnTo>
                      <a:pt x="1016" y="585"/>
                    </a:lnTo>
                    <a:lnTo>
                      <a:pt x="840" y="0"/>
                    </a:lnTo>
                    <a:lnTo>
                      <a:pt x="0" y="333"/>
                    </a:lnTo>
                    <a:close/>
                  </a:path>
                </a:pathLst>
              </a:custGeom>
              <a:solidFill>
                <a:srgbClr val="CFA9C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 name="Freeform 63"/>
              <p:cNvSpPr>
                <a:spLocks/>
              </p:cNvSpPr>
              <p:nvPr userDrawn="1"/>
            </p:nvSpPr>
            <p:spPr bwMode="auto">
              <a:xfrm>
                <a:off x="2286000" y="4191000"/>
                <a:ext cx="1333500" cy="2054225"/>
              </a:xfrm>
              <a:custGeom>
                <a:avLst/>
                <a:gdLst>
                  <a:gd name="T0" fmla="*/ 550 w 840"/>
                  <a:gd name="T1" fmla="*/ 0 h 1294"/>
                  <a:gd name="T2" fmla="*/ 0 w 840"/>
                  <a:gd name="T3" fmla="*/ 1294 h 1294"/>
                  <a:gd name="T4" fmla="*/ 840 w 840"/>
                  <a:gd name="T5" fmla="*/ 965 h 1294"/>
                  <a:gd name="T6" fmla="*/ 550 w 840"/>
                  <a:gd name="T7" fmla="*/ 0 h 1294"/>
                </a:gdLst>
                <a:ahLst/>
                <a:cxnLst>
                  <a:cxn ang="0">
                    <a:pos x="T0" y="T1"/>
                  </a:cxn>
                  <a:cxn ang="0">
                    <a:pos x="T2" y="T3"/>
                  </a:cxn>
                  <a:cxn ang="0">
                    <a:pos x="T4" y="T5"/>
                  </a:cxn>
                  <a:cxn ang="0">
                    <a:pos x="T6" y="T7"/>
                  </a:cxn>
                </a:cxnLst>
                <a:rect l="0" t="0" r="r" b="b"/>
                <a:pathLst>
                  <a:path w="840" h="1294">
                    <a:moveTo>
                      <a:pt x="550" y="0"/>
                    </a:moveTo>
                    <a:lnTo>
                      <a:pt x="0" y="1294"/>
                    </a:lnTo>
                    <a:lnTo>
                      <a:pt x="840" y="965"/>
                    </a:lnTo>
                    <a:lnTo>
                      <a:pt x="550" y="0"/>
                    </a:lnTo>
                    <a:close/>
                  </a:path>
                </a:pathLst>
              </a:custGeom>
              <a:solidFill>
                <a:srgbClr val="B881B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0" name="Freeform 64"/>
            <p:cNvSpPr>
              <a:spLocks/>
            </p:cNvSpPr>
            <p:nvPr userDrawn="1"/>
          </p:nvSpPr>
          <p:spPr bwMode="auto">
            <a:xfrm>
              <a:off x="0" y="-3175"/>
              <a:ext cx="6134100" cy="4741863"/>
            </a:xfrm>
            <a:custGeom>
              <a:avLst/>
              <a:gdLst>
                <a:gd name="T0" fmla="*/ 3864 w 3864"/>
                <a:gd name="T1" fmla="*/ 2987 h 2987"/>
                <a:gd name="T2" fmla="*/ 0 w 3864"/>
                <a:gd name="T3" fmla="*/ 2068 h 2987"/>
                <a:gd name="T4" fmla="*/ 0 w 3864"/>
                <a:gd name="T5" fmla="*/ 0 h 2987"/>
                <a:gd name="T6" fmla="*/ 2618 w 3864"/>
                <a:gd name="T7" fmla="*/ 0 h 2987"/>
                <a:gd name="T8" fmla="*/ 3864 w 3864"/>
                <a:gd name="T9" fmla="*/ 2987 h 2987"/>
              </a:gdLst>
              <a:ahLst/>
              <a:cxnLst>
                <a:cxn ang="0">
                  <a:pos x="T0" y="T1"/>
                </a:cxn>
                <a:cxn ang="0">
                  <a:pos x="T2" y="T3"/>
                </a:cxn>
                <a:cxn ang="0">
                  <a:pos x="T4" y="T5"/>
                </a:cxn>
                <a:cxn ang="0">
                  <a:pos x="T6" y="T7"/>
                </a:cxn>
                <a:cxn ang="0">
                  <a:pos x="T8" y="T9"/>
                </a:cxn>
              </a:cxnLst>
              <a:rect l="0" t="0" r="r" b="b"/>
              <a:pathLst>
                <a:path w="3864" h="2987">
                  <a:moveTo>
                    <a:pt x="3864" y="2987"/>
                  </a:moveTo>
                  <a:lnTo>
                    <a:pt x="0" y="2068"/>
                  </a:lnTo>
                  <a:lnTo>
                    <a:pt x="0" y="0"/>
                  </a:lnTo>
                  <a:lnTo>
                    <a:pt x="2618" y="0"/>
                  </a:lnTo>
                  <a:lnTo>
                    <a:pt x="3864" y="2987"/>
                  </a:lnTo>
                  <a:close/>
                </a:path>
              </a:pathLst>
            </a:custGeom>
            <a:solidFill>
              <a:srgbClr val="74467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424998047"/>
      </p:ext>
    </p:extLst>
  </p:cSld>
  <p:clrMap bg1="lt1" tx1="dk1" bg2="lt2" tx2="dk2" accent1="accent1" accent2="accent2" accent3="accent3" accent4="accent4" accent5="accent5" accent6="accent6" hlink="hlink" folHlink="folHlink"/>
  <p:sldLayoutIdLst>
    <p:sldLayoutId id="2147483756" r:id="rId1"/>
    <p:sldLayoutId id="2147483759" r:id="rId2"/>
  </p:sldLayoutIdLst>
  <p:transition spd="slow">
    <p:fade/>
  </p:transition>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48"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1557" y="1558"/>
                        <a:ext cx="1556" cy="1556"/>
                      </a:xfrm>
                      <a:prstGeom prst="rect">
                        <a:avLst/>
                      </a:prstGeom>
                    </p:spPr>
                  </p:pic>
                </p:oleObj>
              </mc:Fallback>
            </mc:AlternateContent>
          </a:graphicData>
        </a:graphic>
      </p:graphicFrame>
      <p:grpSp>
        <p:nvGrpSpPr>
          <p:cNvPr id="16" name="Group 4"/>
          <p:cNvGrpSpPr>
            <a:grpSpLocks noChangeAspect="1"/>
          </p:cNvGrpSpPr>
          <p:nvPr userDrawn="1"/>
        </p:nvGrpSpPr>
        <p:grpSpPr bwMode="auto">
          <a:xfrm>
            <a:off x="10881860" y="605550"/>
            <a:ext cx="802140" cy="195025"/>
            <a:chOff x="2247" y="90"/>
            <a:chExt cx="6334" cy="1540"/>
          </a:xfrm>
          <a:solidFill>
            <a:schemeClr val="accent1"/>
          </a:solidFill>
        </p:grpSpPr>
        <p:sp>
          <p:nvSpPr>
            <p:cNvPr id="17" name="Freeform 16"/>
            <p:cNvSpPr>
              <a:spLocks/>
            </p:cNvSpPr>
            <p:nvPr/>
          </p:nvSpPr>
          <p:spPr bwMode="auto">
            <a:xfrm>
              <a:off x="5492" y="87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7"/>
            <p:cNvSpPr>
              <a:spLocks noEditPoints="1"/>
            </p:cNvSpPr>
            <p:nvPr/>
          </p:nvSpPr>
          <p:spPr bwMode="auto">
            <a:xfrm>
              <a:off x="3300" y="547"/>
              <a:ext cx="1061" cy="1083"/>
            </a:xfrm>
            <a:custGeom>
              <a:avLst/>
              <a:gdLst>
                <a:gd name="T0" fmla="*/ 515 w 517"/>
                <a:gd name="T1" fmla="*/ 304 h 526"/>
                <a:gd name="T2" fmla="*/ 517 w 517"/>
                <a:gd name="T3" fmla="*/ 251 h 526"/>
                <a:gd name="T4" fmla="*/ 515 w 517"/>
                <a:gd name="T5" fmla="*/ 212 h 526"/>
                <a:gd name="T6" fmla="*/ 266 w 517"/>
                <a:gd name="T7" fmla="*/ 0 h 526"/>
                <a:gd name="T8" fmla="*/ 0 w 517"/>
                <a:gd name="T9" fmla="*/ 263 h 526"/>
                <a:gd name="T10" fmla="*/ 276 w 517"/>
                <a:gd name="T11" fmla="*/ 526 h 526"/>
                <a:gd name="T12" fmla="*/ 427 w 517"/>
                <a:gd name="T13" fmla="*/ 478 h 526"/>
                <a:gd name="T14" fmla="*/ 497 w 517"/>
                <a:gd name="T15" fmla="*/ 388 h 526"/>
                <a:gd name="T16" fmla="*/ 501 w 517"/>
                <a:gd name="T17" fmla="*/ 377 h 526"/>
                <a:gd name="T18" fmla="*/ 500 w 517"/>
                <a:gd name="T19" fmla="*/ 377 h 526"/>
                <a:gd name="T20" fmla="*/ 433 w 517"/>
                <a:gd name="T21" fmla="*/ 354 h 526"/>
                <a:gd name="T22" fmla="*/ 380 w 517"/>
                <a:gd name="T23" fmla="*/ 336 h 526"/>
                <a:gd name="T24" fmla="*/ 274 w 517"/>
                <a:gd name="T25" fmla="*/ 403 h 526"/>
                <a:gd name="T26" fmla="*/ 150 w 517"/>
                <a:gd name="T27" fmla="*/ 304 h 526"/>
                <a:gd name="T28" fmla="*/ 451 w 517"/>
                <a:gd name="T29" fmla="*/ 304 h 526"/>
                <a:gd name="T30" fmla="*/ 515 w 517"/>
                <a:gd name="T31" fmla="*/ 304 h 526"/>
                <a:gd name="T32" fmla="*/ 154 w 517"/>
                <a:gd name="T33" fmla="*/ 207 h 526"/>
                <a:gd name="T34" fmla="*/ 263 w 517"/>
                <a:gd name="T35" fmla="*/ 119 h 526"/>
                <a:gd name="T36" fmla="*/ 370 w 517"/>
                <a:gd name="T37" fmla="*/ 207 h 526"/>
                <a:gd name="T38" fmla="*/ 154 w 517"/>
                <a:gd name="T39" fmla="*/ 207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7" h="526">
                  <a:moveTo>
                    <a:pt x="515" y="304"/>
                  </a:moveTo>
                  <a:cubicBezTo>
                    <a:pt x="517" y="287"/>
                    <a:pt x="517" y="269"/>
                    <a:pt x="517" y="251"/>
                  </a:cubicBezTo>
                  <a:cubicBezTo>
                    <a:pt x="517" y="238"/>
                    <a:pt x="517" y="225"/>
                    <a:pt x="515" y="212"/>
                  </a:cubicBezTo>
                  <a:cubicBezTo>
                    <a:pt x="499" y="85"/>
                    <a:pt x="403" y="0"/>
                    <a:pt x="266" y="0"/>
                  </a:cubicBezTo>
                  <a:cubicBezTo>
                    <a:pt x="122" y="0"/>
                    <a:pt x="0" y="117"/>
                    <a:pt x="0" y="263"/>
                  </a:cubicBezTo>
                  <a:cubicBezTo>
                    <a:pt x="0" y="419"/>
                    <a:pt x="124" y="526"/>
                    <a:pt x="276" y="526"/>
                  </a:cubicBezTo>
                  <a:cubicBezTo>
                    <a:pt x="332" y="526"/>
                    <a:pt x="385" y="509"/>
                    <a:pt x="427" y="478"/>
                  </a:cubicBezTo>
                  <a:cubicBezTo>
                    <a:pt x="457" y="456"/>
                    <a:pt x="482" y="426"/>
                    <a:pt x="497" y="388"/>
                  </a:cubicBezTo>
                  <a:cubicBezTo>
                    <a:pt x="498" y="385"/>
                    <a:pt x="500" y="381"/>
                    <a:pt x="501" y="377"/>
                  </a:cubicBezTo>
                  <a:cubicBezTo>
                    <a:pt x="500" y="377"/>
                    <a:pt x="500" y="377"/>
                    <a:pt x="500" y="377"/>
                  </a:cubicBezTo>
                  <a:cubicBezTo>
                    <a:pt x="433" y="354"/>
                    <a:pt x="433" y="354"/>
                    <a:pt x="433" y="354"/>
                  </a:cubicBezTo>
                  <a:cubicBezTo>
                    <a:pt x="380" y="336"/>
                    <a:pt x="380" y="336"/>
                    <a:pt x="380" y="336"/>
                  </a:cubicBezTo>
                  <a:cubicBezTo>
                    <a:pt x="364" y="377"/>
                    <a:pt x="317" y="403"/>
                    <a:pt x="274" y="403"/>
                  </a:cubicBezTo>
                  <a:cubicBezTo>
                    <a:pt x="213" y="403"/>
                    <a:pt x="159" y="367"/>
                    <a:pt x="150" y="304"/>
                  </a:cubicBezTo>
                  <a:cubicBezTo>
                    <a:pt x="451" y="304"/>
                    <a:pt x="451" y="304"/>
                    <a:pt x="451" y="304"/>
                  </a:cubicBezTo>
                  <a:lnTo>
                    <a:pt x="515" y="304"/>
                  </a:lnTo>
                  <a:close/>
                  <a:moveTo>
                    <a:pt x="154" y="207"/>
                  </a:moveTo>
                  <a:cubicBezTo>
                    <a:pt x="159" y="174"/>
                    <a:pt x="197" y="119"/>
                    <a:pt x="263" y="119"/>
                  </a:cubicBezTo>
                  <a:cubicBezTo>
                    <a:pt x="337" y="119"/>
                    <a:pt x="368" y="170"/>
                    <a:pt x="370" y="207"/>
                  </a:cubicBezTo>
                  <a:lnTo>
                    <a:pt x="154" y="2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8"/>
            <p:cNvSpPr>
              <a:spLocks/>
            </p:cNvSpPr>
            <p:nvPr/>
          </p:nvSpPr>
          <p:spPr bwMode="auto">
            <a:xfrm>
              <a:off x="2247" y="572"/>
              <a:ext cx="1143" cy="1029"/>
            </a:xfrm>
            <a:custGeom>
              <a:avLst/>
              <a:gdLst>
                <a:gd name="T0" fmla="*/ 0 w 1143"/>
                <a:gd name="T1" fmla="*/ 0 h 1029"/>
                <a:gd name="T2" fmla="*/ 318 w 1143"/>
                <a:gd name="T3" fmla="*/ 0 h 1029"/>
                <a:gd name="T4" fmla="*/ 571 w 1143"/>
                <a:gd name="T5" fmla="*/ 687 h 1029"/>
                <a:gd name="T6" fmla="*/ 825 w 1143"/>
                <a:gd name="T7" fmla="*/ 0 h 1029"/>
                <a:gd name="T8" fmla="*/ 1143 w 1143"/>
                <a:gd name="T9" fmla="*/ 0 h 1029"/>
                <a:gd name="T10" fmla="*/ 720 w 1143"/>
                <a:gd name="T11" fmla="*/ 1029 h 1029"/>
                <a:gd name="T12" fmla="*/ 417 w 1143"/>
                <a:gd name="T13" fmla="*/ 1029 h 1029"/>
                <a:gd name="T14" fmla="*/ 0 w 1143"/>
                <a:gd name="T15" fmla="*/ 0 h 10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3" h="1029">
                  <a:moveTo>
                    <a:pt x="0" y="0"/>
                  </a:moveTo>
                  <a:lnTo>
                    <a:pt x="318" y="0"/>
                  </a:lnTo>
                  <a:lnTo>
                    <a:pt x="571" y="687"/>
                  </a:lnTo>
                  <a:lnTo>
                    <a:pt x="825" y="0"/>
                  </a:lnTo>
                  <a:lnTo>
                    <a:pt x="1143" y="0"/>
                  </a:lnTo>
                  <a:lnTo>
                    <a:pt x="720" y="1029"/>
                  </a:lnTo>
                  <a:lnTo>
                    <a:pt x="417" y="102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9"/>
            <p:cNvSpPr>
              <a:spLocks noEditPoints="1"/>
            </p:cNvSpPr>
            <p:nvPr/>
          </p:nvSpPr>
          <p:spPr bwMode="auto">
            <a:xfrm>
              <a:off x="7641" y="547"/>
              <a:ext cx="940" cy="1079"/>
            </a:xfrm>
            <a:custGeom>
              <a:avLst/>
              <a:gdLst>
                <a:gd name="T0" fmla="*/ 454 w 458"/>
                <a:gd name="T1" fmla="*/ 434 h 524"/>
                <a:gd name="T2" fmla="*/ 454 w 458"/>
                <a:gd name="T3" fmla="*/ 275 h 524"/>
                <a:gd name="T4" fmla="*/ 454 w 458"/>
                <a:gd name="T5" fmla="*/ 255 h 524"/>
                <a:gd name="T6" fmla="*/ 454 w 458"/>
                <a:gd name="T7" fmla="*/ 203 h 524"/>
                <a:gd name="T8" fmla="*/ 237 w 458"/>
                <a:gd name="T9" fmla="*/ 0 h 524"/>
                <a:gd name="T10" fmla="*/ 13 w 458"/>
                <a:gd name="T11" fmla="*/ 150 h 524"/>
                <a:gd name="T12" fmla="*/ 141 w 458"/>
                <a:gd name="T13" fmla="*/ 184 h 524"/>
                <a:gd name="T14" fmla="*/ 230 w 458"/>
                <a:gd name="T15" fmla="*/ 119 h 524"/>
                <a:gd name="T16" fmla="*/ 310 w 458"/>
                <a:gd name="T17" fmla="*/ 182 h 524"/>
                <a:gd name="T18" fmla="*/ 270 w 458"/>
                <a:gd name="T19" fmla="*/ 216 h 524"/>
                <a:gd name="T20" fmla="*/ 221 w 458"/>
                <a:gd name="T21" fmla="*/ 216 h 524"/>
                <a:gd name="T22" fmla="*/ 199 w 458"/>
                <a:gd name="T23" fmla="*/ 217 h 524"/>
                <a:gd name="T24" fmla="*/ 135 w 458"/>
                <a:gd name="T25" fmla="*/ 226 h 524"/>
                <a:gd name="T26" fmla="*/ 104 w 458"/>
                <a:gd name="T27" fmla="*/ 235 h 524"/>
                <a:gd name="T28" fmla="*/ 0 w 458"/>
                <a:gd name="T29" fmla="*/ 370 h 524"/>
                <a:gd name="T30" fmla="*/ 0 w 458"/>
                <a:gd name="T31" fmla="*/ 374 h 524"/>
                <a:gd name="T32" fmla="*/ 116 w 458"/>
                <a:gd name="T33" fmla="*/ 518 h 524"/>
                <a:gd name="T34" fmla="*/ 161 w 458"/>
                <a:gd name="T35" fmla="*/ 524 h 524"/>
                <a:gd name="T36" fmla="*/ 167 w 458"/>
                <a:gd name="T37" fmla="*/ 524 h 524"/>
                <a:gd name="T38" fmla="*/ 235 w 458"/>
                <a:gd name="T39" fmla="*/ 513 h 524"/>
                <a:gd name="T40" fmla="*/ 317 w 458"/>
                <a:gd name="T41" fmla="*/ 452 h 524"/>
                <a:gd name="T42" fmla="*/ 318 w 458"/>
                <a:gd name="T43" fmla="*/ 452 h 524"/>
                <a:gd name="T44" fmla="*/ 321 w 458"/>
                <a:gd name="T45" fmla="*/ 515 h 524"/>
                <a:gd name="T46" fmla="*/ 458 w 458"/>
                <a:gd name="T47" fmla="*/ 515 h 524"/>
                <a:gd name="T48" fmla="*/ 454 w 458"/>
                <a:gd name="T49" fmla="*/ 434 h 524"/>
                <a:gd name="T50" fmla="*/ 263 w 458"/>
                <a:gd name="T51" fmla="*/ 404 h 524"/>
                <a:gd name="T52" fmla="*/ 237 w 458"/>
                <a:gd name="T53" fmla="*/ 414 h 524"/>
                <a:gd name="T54" fmla="*/ 209 w 458"/>
                <a:gd name="T55" fmla="*/ 417 h 524"/>
                <a:gd name="T56" fmla="*/ 174 w 458"/>
                <a:gd name="T57" fmla="*/ 409 h 524"/>
                <a:gd name="T58" fmla="*/ 148 w 458"/>
                <a:gd name="T59" fmla="*/ 366 h 524"/>
                <a:gd name="T60" fmla="*/ 159 w 458"/>
                <a:gd name="T61" fmla="*/ 335 h 524"/>
                <a:gd name="T62" fmla="*/ 203 w 458"/>
                <a:gd name="T63" fmla="*/ 311 h 524"/>
                <a:gd name="T64" fmla="*/ 221 w 458"/>
                <a:gd name="T65" fmla="*/ 309 h 524"/>
                <a:gd name="T66" fmla="*/ 271 w 458"/>
                <a:gd name="T67" fmla="*/ 309 h 524"/>
                <a:gd name="T68" fmla="*/ 308 w 458"/>
                <a:gd name="T69" fmla="*/ 309 h 524"/>
                <a:gd name="T70" fmla="*/ 309 w 458"/>
                <a:gd name="T71" fmla="*/ 309 h 524"/>
                <a:gd name="T72" fmla="*/ 309 w 458"/>
                <a:gd name="T73" fmla="*/ 320 h 524"/>
                <a:gd name="T74" fmla="*/ 263 w 458"/>
                <a:gd name="T75" fmla="*/ 40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524">
                  <a:moveTo>
                    <a:pt x="454" y="434"/>
                  </a:moveTo>
                  <a:cubicBezTo>
                    <a:pt x="454" y="275"/>
                    <a:pt x="454" y="275"/>
                    <a:pt x="454" y="275"/>
                  </a:cubicBezTo>
                  <a:cubicBezTo>
                    <a:pt x="454" y="255"/>
                    <a:pt x="454" y="255"/>
                    <a:pt x="454" y="255"/>
                  </a:cubicBezTo>
                  <a:cubicBezTo>
                    <a:pt x="454" y="203"/>
                    <a:pt x="454" y="203"/>
                    <a:pt x="454" y="203"/>
                  </a:cubicBezTo>
                  <a:cubicBezTo>
                    <a:pt x="454" y="68"/>
                    <a:pt x="362" y="0"/>
                    <a:pt x="237" y="0"/>
                  </a:cubicBezTo>
                  <a:cubicBezTo>
                    <a:pt x="135" y="0"/>
                    <a:pt x="35" y="49"/>
                    <a:pt x="13" y="150"/>
                  </a:cubicBezTo>
                  <a:cubicBezTo>
                    <a:pt x="60" y="156"/>
                    <a:pt x="104" y="168"/>
                    <a:pt x="141" y="184"/>
                  </a:cubicBezTo>
                  <a:cubicBezTo>
                    <a:pt x="153" y="144"/>
                    <a:pt x="187" y="119"/>
                    <a:pt x="230" y="119"/>
                  </a:cubicBezTo>
                  <a:cubicBezTo>
                    <a:pt x="284" y="119"/>
                    <a:pt x="310" y="149"/>
                    <a:pt x="310" y="182"/>
                  </a:cubicBezTo>
                  <a:cubicBezTo>
                    <a:pt x="310" y="202"/>
                    <a:pt x="298" y="216"/>
                    <a:pt x="270" y="216"/>
                  </a:cubicBezTo>
                  <a:cubicBezTo>
                    <a:pt x="221" y="216"/>
                    <a:pt x="221" y="216"/>
                    <a:pt x="221" y="216"/>
                  </a:cubicBezTo>
                  <a:cubicBezTo>
                    <a:pt x="214" y="216"/>
                    <a:pt x="206" y="217"/>
                    <a:pt x="199" y="217"/>
                  </a:cubicBezTo>
                  <a:cubicBezTo>
                    <a:pt x="178" y="218"/>
                    <a:pt x="156" y="221"/>
                    <a:pt x="135" y="226"/>
                  </a:cubicBezTo>
                  <a:cubicBezTo>
                    <a:pt x="124" y="228"/>
                    <a:pt x="114" y="231"/>
                    <a:pt x="104" y="235"/>
                  </a:cubicBezTo>
                  <a:cubicBezTo>
                    <a:pt x="46" y="256"/>
                    <a:pt x="0" y="297"/>
                    <a:pt x="0" y="370"/>
                  </a:cubicBezTo>
                  <a:cubicBezTo>
                    <a:pt x="0" y="374"/>
                    <a:pt x="0" y="374"/>
                    <a:pt x="0" y="374"/>
                  </a:cubicBezTo>
                  <a:cubicBezTo>
                    <a:pt x="0" y="449"/>
                    <a:pt x="51" y="500"/>
                    <a:pt x="116" y="518"/>
                  </a:cubicBezTo>
                  <a:cubicBezTo>
                    <a:pt x="131" y="521"/>
                    <a:pt x="145" y="524"/>
                    <a:pt x="161" y="524"/>
                  </a:cubicBezTo>
                  <a:cubicBezTo>
                    <a:pt x="163" y="524"/>
                    <a:pt x="165" y="524"/>
                    <a:pt x="167" y="524"/>
                  </a:cubicBezTo>
                  <a:cubicBezTo>
                    <a:pt x="190" y="524"/>
                    <a:pt x="213" y="521"/>
                    <a:pt x="235" y="513"/>
                  </a:cubicBezTo>
                  <a:cubicBezTo>
                    <a:pt x="266" y="502"/>
                    <a:pt x="295" y="483"/>
                    <a:pt x="317" y="452"/>
                  </a:cubicBezTo>
                  <a:cubicBezTo>
                    <a:pt x="318" y="452"/>
                    <a:pt x="318" y="452"/>
                    <a:pt x="318" y="452"/>
                  </a:cubicBezTo>
                  <a:cubicBezTo>
                    <a:pt x="318" y="471"/>
                    <a:pt x="318" y="495"/>
                    <a:pt x="321" y="515"/>
                  </a:cubicBezTo>
                  <a:cubicBezTo>
                    <a:pt x="458" y="515"/>
                    <a:pt x="458" y="515"/>
                    <a:pt x="458" y="515"/>
                  </a:cubicBezTo>
                  <a:cubicBezTo>
                    <a:pt x="455" y="488"/>
                    <a:pt x="454" y="461"/>
                    <a:pt x="454" y="434"/>
                  </a:cubicBezTo>
                  <a:close/>
                  <a:moveTo>
                    <a:pt x="263" y="404"/>
                  </a:moveTo>
                  <a:cubicBezTo>
                    <a:pt x="255" y="408"/>
                    <a:pt x="246" y="412"/>
                    <a:pt x="237" y="414"/>
                  </a:cubicBezTo>
                  <a:cubicBezTo>
                    <a:pt x="228" y="416"/>
                    <a:pt x="219" y="417"/>
                    <a:pt x="209" y="417"/>
                  </a:cubicBezTo>
                  <a:cubicBezTo>
                    <a:pt x="197" y="417"/>
                    <a:pt x="184" y="415"/>
                    <a:pt x="174" y="409"/>
                  </a:cubicBezTo>
                  <a:cubicBezTo>
                    <a:pt x="159" y="402"/>
                    <a:pt x="148" y="388"/>
                    <a:pt x="148" y="366"/>
                  </a:cubicBezTo>
                  <a:cubicBezTo>
                    <a:pt x="148" y="354"/>
                    <a:pt x="152" y="343"/>
                    <a:pt x="159" y="335"/>
                  </a:cubicBezTo>
                  <a:cubicBezTo>
                    <a:pt x="170" y="322"/>
                    <a:pt x="187" y="314"/>
                    <a:pt x="203" y="311"/>
                  </a:cubicBezTo>
                  <a:cubicBezTo>
                    <a:pt x="209" y="309"/>
                    <a:pt x="215" y="309"/>
                    <a:pt x="221" y="309"/>
                  </a:cubicBezTo>
                  <a:cubicBezTo>
                    <a:pt x="271" y="309"/>
                    <a:pt x="271" y="309"/>
                    <a:pt x="271" y="309"/>
                  </a:cubicBezTo>
                  <a:cubicBezTo>
                    <a:pt x="308" y="309"/>
                    <a:pt x="308" y="309"/>
                    <a:pt x="308" y="309"/>
                  </a:cubicBezTo>
                  <a:cubicBezTo>
                    <a:pt x="309" y="309"/>
                    <a:pt x="309" y="309"/>
                    <a:pt x="309" y="309"/>
                  </a:cubicBezTo>
                  <a:cubicBezTo>
                    <a:pt x="309" y="320"/>
                    <a:pt x="309" y="320"/>
                    <a:pt x="309" y="320"/>
                  </a:cubicBezTo>
                  <a:cubicBezTo>
                    <a:pt x="309" y="354"/>
                    <a:pt x="293" y="386"/>
                    <a:pt x="263" y="4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20"/>
            <p:cNvSpPr>
              <a:spLocks noEditPoints="1"/>
            </p:cNvSpPr>
            <p:nvPr/>
          </p:nvSpPr>
          <p:spPr bwMode="auto">
            <a:xfrm>
              <a:off x="6469" y="90"/>
              <a:ext cx="1108" cy="1536"/>
            </a:xfrm>
            <a:custGeom>
              <a:avLst/>
              <a:gdLst>
                <a:gd name="T0" fmla="*/ 393 w 540"/>
                <a:gd name="T1" fmla="*/ 0 h 746"/>
                <a:gd name="T2" fmla="*/ 393 w 540"/>
                <a:gd name="T3" fmla="*/ 229 h 746"/>
                <a:gd name="T4" fmla="*/ 392 w 540"/>
                <a:gd name="T5" fmla="*/ 256 h 746"/>
                <a:gd name="T6" fmla="*/ 266 w 540"/>
                <a:gd name="T7" fmla="*/ 220 h 746"/>
                <a:gd name="T8" fmla="*/ 181 w 540"/>
                <a:gd name="T9" fmla="*/ 232 h 746"/>
                <a:gd name="T10" fmla="*/ 175 w 540"/>
                <a:gd name="T11" fmla="*/ 234 h 746"/>
                <a:gd name="T12" fmla="*/ 171 w 540"/>
                <a:gd name="T13" fmla="*/ 235 h 746"/>
                <a:gd name="T14" fmla="*/ 156 w 540"/>
                <a:gd name="T15" fmla="*/ 241 h 746"/>
                <a:gd name="T16" fmla="*/ 155 w 540"/>
                <a:gd name="T17" fmla="*/ 241 h 746"/>
                <a:gd name="T18" fmla="*/ 141 w 540"/>
                <a:gd name="T19" fmla="*/ 247 h 746"/>
                <a:gd name="T20" fmla="*/ 133 w 540"/>
                <a:gd name="T21" fmla="*/ 252 h 746"/>
                <a:gd name="T22" fmla="*/ 131 w 540"/>
                <a:gd name="T23" fmla="*/ 253 h 746"/>
                <a:gd name="T24" fmla="*/ 104 w 540"/>
                <a:gd name="T25" fmla="*/ 271 h 746"/>
                <a:gd name="T26" fmla="*/ 0 w 540"/>
                <a:gd name="T27" fmla="*/ 485 h 746"/>
                <a:gd name="T28" fmla="*/ 94 w 540"/>
                <a:gd name="T29" fmla="*/ 695 h 746"/>
                <a:gd name="T30" fmla="*/ 117 w 540"/>
                <a:gd name="T31" fmla="*/ 711 h 746"/>
                <a:gd name="T32" fmla="*/ 239 w 540"/>
                <a:gd name="T33" fmla="*/ 746 h 746"/>
                <a:gd name="T34" fmla="*/ 250 w 540"/>
                <a:gd name="T35" fmla="*/ 746 h 746"/>
                <a:gd name="T36" fmla="*/ 250 w 540"/>
                <a:gd name="T37" fmla="*/ 746 h 746"/>
                <a:gd name="T38" fmla="*/ 397 w 540"/>
                <a:gd name="T39" fmla="*/ 698 h 746"/>
                <a:gd name="T40" fmla="*/ 397 w 540"/>
                <a:gd name="T41" fmla="*/ 737 h 746"/>
                <a:gd name="T42" fmla="*/ 540 w 540"/>
                <a:gd name="T43" fmla="*/ 737 h 746"/>
                <a:gd name="T44" fmla="*/ 540 w 540"/>
                <a:gd name="T45" fmla="*/ 0 h 746"/>
                <a:gd name="T46" fmla="*/ 393 w 540"/>
                <a:gd name="T47" fmla="*/ 0 h 746"/>
                <a:gd name="T48" fmla="*/ 273 w 540"/>
                <a:gd name="T49" fmla="*/ 613 h 746"/>
                <a:gd name="T50" fmla="*/ 149 w 540"/>
                <a:gd name="T51" fmla="*/ 485 h 746"/>
                <a:gd name="T52" fmla="*/ 273 w 540"/>
                <a:gd name="T53" fmla="*/ 357 h 746"/>
                <a:gd name="T54" fmla="*/ 397 w 540"/>
                <a:gd name="T55" fmla="*/ 485 h 746"/>
                <a:gd name="T56" fmla="*/ 273 w 540"/>
                <a:gd name="T57" fmla="*/ 613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0" h="746">
                  <a:moveTo>
                    <a:pt x="393" y="0"/>
                  </a:moveTo>
                  <a:cubicBezTo>
                    <a:pt x="393" y="229"/>
                    <a:pt x="393" y="229"/>
                    <a:pt x="393" y="229"/>
                  </a:cubicBezTo>
                  <a:cubicBezTo>
                    <a:pt x="392" y="256"/>
                    <a:pt x="392" y="256"/>
                    <a:pt x="392" y="256"/>
                  </a:cubicBezTo>
                  <a:cubicBezTo>
                    <a:pt x="357" y="234"/>
                    <a:pt x="314" y="220"/>
                    <a:pt x="266" y="220"/>
                  </a:cubicBezTo>
                  <a:cubicBezTo>
                    <a:pt x="237" y="220"/>
                    <a:pt x="208" y="224"/>
                    <a:pt x="181" y="232"/>
                  </a:cubicBezTo>
                  <a:cubicBezTo>
                    <a:pt x="179" y="233"/>
                    <a:pt x="177" y="234"/>
                    <a:pt x="175" y="234"/>
                  </a:cubicBezTo>
                  <a:cubicBezTo>
                    <a:pt x="173" y="235"/>
                    <a:pt x="172" y="235"/>
                    <a:pt x="171" y="235"/>
                  </a:cubicBezTo>
                  <a:cubicBezTo>
                    <a:pt x="166" y="237"/>
                    <a:pt x="161" y="239"/>
                    <a:pt x="156" y="241"/>
                  </a:cubicBezTo>
                  <a:cubicBezTo>
                    <a:pt x="156" y="241"/>
                    <a:pt x="156" y="241"/>
                    <a:pt x="155" y="241"/>
                  </a:cubicBezTo>
                  <a:cubicBezTo>
                    <a:pt x="151" y="243"/>
                    <a:pt x="146" y="245"/>
                    <a:pt x="141" y="247"/>
                  </a:cubicBezTo>
                  <a:cubicBezTo>
                    <a:pt x="139" y="249"/>
                    <a:pt x="136" y="250"/>
                    <a:pt x="133" y="252"/>
                  </a:cubicBezTo>
                  <a:cubicBezTo>
                    <a:pt x="132" y="252"/>
                    <a:pt x="131" y="253"/>
                    <a:pt x="131" y="253"/>
                  </a:cubicBezTo>
                  <a:cubicBezTo>
                    <a:pt x="121" y="259"/>
                    <a:pt x="112" y="264"/>
                    <a:pt x="104" y="271"/>
                  </a:cubicBezTo>
                  <a:cubicBezTo>
                    <a:pt x="39" y="321"/>
                    <a:pt x="0" y="404"/>
                    <a:pt x="0" y="485"/>
                  </a:cubicBezTo>
                  <a:cubicBezTo>
                    <a:pt x="0" y="567"/>
                    <a:pt x="34" y="646"/>
                    <a:pt x="94" y="695"/>
                  </a:cubicBezTo>
                  <a:cubicBezTo>
                    <a:pt x="101" y="701"/>
                    <a:pt x="109" y="707"/>
                    <a:pt x="117" y="711"/>
                  </a:cubicBezTo>
                  <a:cubicBezTo>
                    <a:pt x="151" y="733"/>
                    <a:pt x="193" y="746"/>
                    <a:pt x="239" y="746"/>
                  </a:cubicBezTo>
                  <a:cubicBezTo>
                    <a:pt x="242" y="746"/>
                    <a:pt x="246" y="746"/>
                    <a:pt x="250" y="746"/>
                  </a:cubicBezTo>
                  <a:cubicBezTo>
                    <a:pt x="250" y="746"/>
                    <a:pt x="250" y="746"/>
                    <a:pt x="250" y="746"/>
                  </a:cubicBezTo>
                  <a:cubicBezTo>
                    <a:pt x="306" y="746"/>
                    <a:pt x="358" y="728"/>
                    <a:pt x="397" y="698"/>
                  </a:cubicBezTo>
                  <a:cubicBezTo>
                    <a:pt x="397" y="737"/>
                    <a:pt x="397" y="737"/>
                    <a:pt x="397" y="737"/>
                  </a:cubicBezTo>
                  <a:cubicBezTo>
                    <a:pt x="540" y="737"/>
                    <a:pt x="540" y="737"/>
                    <a:pt x="540" y="737"/>
                  </a:cubicBezTo>
                  <a:cubicBezTo>
                    <a:pt x="540" y="0"/>
                    <a:pt x="540" y="0"/>
                    <a:pt x="540" y="0"/>
                  </a:cubicBezTo>
                  <a:lnTo>
                    <a:pt x="393" y="0"/>
                  </a:lnTo>
                  <a:close/>
                  <a:moveTo>
                    <a:pt x="273" y="613"/>
                  </a:moveTo>
                  <a:cubicBezTo>
                    <a:pt x="204" y="613"/>
                    <a:pt x="149" y="561"/>
                    <a:pt x="149" y="485"/>
                  </a:cubicBezTo>
                  <a:cubicBezTo>
                    <a:pt x="149" y="409"/>
                    <a:pt x="204" y="357"/>
                    <a:pt x="273" y="357"/>
                  </a:cubicBezTo>
                  <a:cubicBezTo>
                    <a:pt x="342" y="357"/>
                    <a:pt x="397" y="409"/>
                    <a:pt x="397" y="485"/>
                  </a:cubicBezTo>
                  <a:cubicBezTo>
                    <a:pt x="397" y="561"/>
                    <a:pt x="342" y="613"/>
                    <a:pt x="273" y="6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21"/>
            <p:cNvSpPr>
              <a:spLocks noEditPoints="1"/>
            </p:cNvSpPr>
            <p:nvPr/>
          </p:nvSpPr>
          <p:spPr bwMode="auto">
            <a:xfrm>
              <a:off x="5467" y="547"/>
              <a:ext cx="940" cy="1079"/>
            </a:xfrm>
            <a:custGeom>
              <a:avLst/>
              <a:gdLst>
                <a:gd name="T0" fmla="*/ 454 w 458"/>
                <a:gd name="T1" fmla="*/ 434 h 524"/>
                <a:gd name="T2" fmla="*/ 454 w 458"/>
                <a:gd name="T3" fmla="*/ 275 h 524"/>
                <a:gd name="T4" fmla="*/ 454 w 458"/>
                <a:gd name="T5" fmla="*/ 255 h 524"/>
                <a:gd name="T6" fmla="*/ 454 w 458"/>
                <a:gd name="T7" fmla="*/ 203 h 524"/>
                <a:gd name="T8" fmla="*/ 237 w 458"/>
                <a:gd name="T9" fmla="*/ 0 h 524"/>
                <a:gd name="T10" fmla="*/ 13 w 458"/>
                <a:gd name="T11" fmla="*/ 150 h 524"/>
                <a:gd name="T12" fmla="*/ 141 w 458"/>
                <a:gd name="T13" fmla="*/ 184 h 524"/>
                <a:gd name="T14" fmla="*/ 230 w 458"/>
                <a:gd name="T15" fmla="*/ 119 h 524"/>
                <a:gd name="T16" fmla="*/ 310 w 458"/>
                <a:gd name="T17" fmla="*/ 182 h 524"/>
                <a:gd name="T18" fmla="*/ 270 w 458"/>
                <a:gd name="T19" fmla="*/ 216 h 524"/>
                <a:gd name="T20" fmla="*/ 221 w 458"/>
                <a:gd name="T21" fmla="*/ 216 h 524"/>
                <a:gd name="T22" fmla="*/ 199 w 458"/>
                <a:gd name="T23" fmla="*/ 217 h 524"/>
                <a:gd name="T24" fmla="*/ 135 w 458"/>
                <a:gd name="T25" fmla="*/ 226 h 524"/>
                <a:gd name="T26" fmla="*/ 104 w 458"/>
                <a:gd name="T27" fmla="*/ 235 h 524"/>
                <a:gd name="T28" fmla="*/ 0 w 458"/>
                <a:gd name="T29" fmla="*/ 370 h 524"/>
                <a:gd name="T30" fmla="*/ 0 w 458"/>
                <a:gd name="T31" fmla="*/ 374 h 524"/>
                <a:gd name="T32" fmla="*/ 116 w 458"/>
                <a:gd name="T33" fmla="*/ 518 h 524"/>
                <a:gd name="T34" fmla="*/ 161 w 458"/>
                <a:gd name="T35" fmla="*/ 524 h 524"/>
                <a:gd name="T36" fmla="*/ 167 w 458"/>
                <a:gd name="T37" fmla="*/ 524 h 524"/>
                <a:gd name="T38" fmla="*/ 235 w 458"/>
                <a:gd name="T39" fmla="*/ 513 h 524"/>
                <a:gd name="T40" fmla="*/ 317 w 458"/>
                <a:gd name="T41" fmla="*/ 452 h 524"/>
                <a:gd name="T42" fmla="*/ 318 w 458"/>
                <a:gd name="T43" fmla="*/ 452 h 524"/>
                <a:gd name="T44" fmla="*/ 321 w 458"/>
                <a:gd name="T45" fmla="*/ 515 h 524"/>
                <a:gd name="T46" fmla="*/ 458 w 458"/>
                <a:gd name="T47" fmla="*/ 515 h 524"/>
                <a:gd name="T48" fmla="*/ 454 w 458"/>
                <a:gd name="T49" fmla="*/ 434 h 524"/>
                <a:gd name="T50" fmla="*/ 263 w 458"/>
                <a:gd name="T51" fmla="*/ 404 h 524"/>
                <a:gd name="T52" fmla="*/ 237 w 458"/>
                <a:gd name="T53" fmla="*/ 414 h 524"/>
                <a:gd name="T54" fmla="*/ 209 w 458"/>
                <a:gd name="T55" fmla="*/ 417 h 524"/>
                <a:gd name="T56" fmla="*/ 174 w 458"/>
                <a:gd name="T57" fmla="*/ 409 h 524"/>
                <a:gd name="T58" fmla="*/ 148 w 458"/>
                <a:gd name="T59" fmla="*/ 366 h 524"/>
                <a:gd name="T60" fmla="*/ 159 w 458"/>
                <a:gd name="T61" fmla="*/ 335 h 524"/>
                <a:gd name="T62" fmla="*/ 203 w 458"/>
                <a:gd name="T63" fmla="*/ 311 h 524"/>
                <a:gd name="T64" fmla="*/ 221 w 458"/>
                <a:gd name="T65" fmla="*/ 309 h 524"/>
                <a:gd name="T66" fmla="*/ 271 w 458"/>
                <a:gd name="T67" fmla="*/ 309 h 524"/>
                <a:gd name="T68" fmla="*/ 309 w 458"/>
                <a:gd name="T69" fmla="*/ 309 h 524"/>
                <a:gd name="T70" fmla="*/ 309 w 458"/>
                <a:gd name="T71" fmla="*/ 309 h 524"/>
                <a:gd name="T72" fmla="*/ 309 w 458"/>
                <a:gd name="T73" fmla="*/ 320 h 524"/>
                <a:gd name="T74" fmla="*/ 263 w 458"/>
                <a:gd name="T75" fmla="*/ 40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524">
                  <a:moveTo>
                    <a:pt x="454" y="434"/>
                  </a:moveTo>
                  <a:cubicBezTo>
                    <a:pt x="454" y="275"/>
                    <a:pt x="454" y="275"/>
                    <a:pt x="454" y="275"/>
                  </a:cubicBezTo>
                  <a:cubicBezTo>
                    <a:pt x="454" y="255"/>
                    <a:pt x="454" y="255"/>
                    <a:pt x="454" y="255"/>
                  </a:cubicBezTo>
                  <a:cubicBezTo>
                    <a:pt x="454" y="203"/>
                    <a:pt x="454" y="203"/>
                    <a:pt x="454" y="203"/>
                  </a:cubicBezTo>
                  <a:cubicBezTo>
                    <a:pt x="454" y="68"/>
                    <a:pt x="362" y="0"/>
                    <a:pt x="237" y="0"/>
                  </a:cubicBezTo>
                  <a:cubicBezTo>
                    <a:pt x="135" y="0"/>
                    <a:pt x="35" y="49"/>
                    <a:pt x="13" y="150"/>
                  </a:cubicBezTo>
                  <a:cubicBezTo>
                    <a:pt x="60" y="156"/>
                    <a:pt x="104" y="168"/>
                    <a:pt x="141" y="184"/>
                  </a:cubicBezTo>
                  <a:cubicBezTo>
                    <a:pt x="153" y="144"/>
                    <a:pt x="187" y="119"/>
                    <a:pt x="230" y="119"/>
                  </a:cubicBezTo>
                  <a:cubicBezTo>
                    <a:pt x="284" y="119"/>
                    <a:pt x="310" y="149"/>
                    <a:pt x="310" y="182"/>
                  </a:cubicBezTo>
                  <a:cubicBezTo>
                    <a:pt x="310" y="202"/>
                    <a:pt x="298" y="216"/>
                    <a:pt x="270" y="216"/>
                  </a:cubicBezTo>
                  <a:cubicBezTo>
                    <a:pt x="221" y="216"/>
                    <a:pt x="221" y="216"/>
                    <a:pt x="221" y="216"/>
                  </a:cubicBezTo>
                  <a:cubicBezTo>
                    <a:pt x="214" y="216"/>
                    <a:pt x="206" y="217"/>
                    <a:pt x="199" y="217"/>
                  </a:cubicBezTo>
                  <a:cubicBezTo>
                    <a:pt x="178" y="218"/>
                    <a:pt x="156" y="221"/>
                    <a:pt x="135" y="226"/>
                  </a:cubicBezTo>
                  <a:cubicBezTo>
                    <a:pt x="124" y="228"/>
                    <a:pt x="114" y="231"/>
                    <a:pt x="104" y="235"/>
                  </a:cubicBezTo>
                  <a:cubicBezTo>
                    <a:pt x="46" y="256"/>
                    <a:pt x="0" y="297"/>
                    <a:pt x="0" y="370"/>
                  </a:cubicBezTo>
                  <a:cubicBezTo>
                    <a:pt x="0" y="374"/>
                    <a:pt x="0" y="374"/>
                    <a:pt x="0" y="374"/>
                  </a:cubicBezTo>
                  <a:cubicBezTo>
                    <a:pt x="0" y="449"/>
                    <a:pt x="51" y="500"/>
                    <a:pt x="116" y="518"/>
                  </a:cubicBezTo>
                  <a:cubicBezTo>
                    <a:pt x="131" y="521"/>
                    <a:pt x="146" y="524"/>
                    <a:pt x="161" y="524"/>
                  </a:cubicBezTo>
                  <a:cubicBezTo>
                    <a:pt x="163" y="524"/>
                    <a:pt x="165" y="524"/>
                    <a:pt x="167" y="524"/>
                  </a:cubicBezTo>
                  <a:cubicBezTo>
                    <a:pt x="190" y="524"/>
                    <a:pt x="213" y="521"/>
                    <a:pt x="235" y="513"/>
                  </a:cubicBezTo>
                  <a:cubicBezTo>
                    <a:pt x="266" y="502"/>
                    <a:pt x="295" y="483"/>
                    <a:pt x="317" y="452"/>
                  </a:cubicBezTo>
                  <a:cubicBezTo>
                    <a:pt x="318" y="452"/>
                    <a:pt x="318" y="452"/>
                    <a:pt x="318" y="452"/>
                  </a:cubicBezTo>
                  <a:cubicBezTo>
                    <a:pt x="318" y="471"/>
                    <a:pt x="318" y="495"/>
                    <a:pt x="321" y="515"/>
                  </a:cubicBezTo>
                  <a:cubicBezTo>
                    <a:pt x="458" y="515"/>
                    <a:pt x="458" y="515"/>
                    <a:pt x="458" y="515"/>
                  </a:cubicBezTo>
                  <a:cubicBezTo>
                    <a:pt x="455" y="488"/>
                    <a:pt x="454" y="461"/>
                    <a:pt x="454" y="434"/>
                  </a:cubicBezTo>
                  <a:close/>
                  <a:moveTo>
                    <a:pt x="263" y="404"/>
                  </a:moveTo>
                  <a:cubicBezTo>
                    <a:pt x="255" y="408"/>
                    <a:pt x="247" y="412"/>
                    <a:pt x="237" y="414"/>
                  </a:cubicBezTo>
                  <a:cubicBezTo>
                    <a:pt x="228" y="416"/>
                    <a:pt x="219" y="417"/>
                    <a:pt x="209" y="417"/>
                  </a:cubicBezTo>
                  <a:cubicBezTo>
                    <a:pt x="197" y="417"/>
                    <a:pt x="184" y="415"/>
                    <a:pt x="174" y="409"/>
                  </a:cubicBezTo>
                  <a:cubicBezTo>
                    <a:pt x="159" y="402"/>
                    <a:pt x="148" y="388"/>
                    <a:pt x="148" y="366"/>
                  </a:cubicBezTo>
                  <a:cubicBezTo>
                    <a:pt x="148" y="354"/>
                    <a:pt x="152" y="343"/>
                    <a:pt x="159" y="335"/>
                  </a:cubicBezTo>
                  <a:cubicBezTo>
                    <a:pt x="170" y="322"/>
                    <a:pt x="187" y="314"/>
                    <a:pt x="203" y="311"/>
                  </a:cubicBezTo>
                  <a:cubicBezTo>
                    <a:pt x="209" y="309"/>
                    <a:pt x="215" y="309"/>
                    <a:pt x="221" y="309"/>
                  </a:cubicBezTo>
                  <a:cubicBezTo>
                    <a:pt x="271" y="309"/>
                    <a:pt x="271" y="309"/>
                    <a:pt x="271" y="309"/>
                  </a:cubicBezTo>
                  <a:cubicBezTo>
                    <a:pt x="309" y="309"/>
                    <a:pt x="309" y="309"/>
                    <a:pt x="309" y="309"/>
                  </a:cubicBezTo>
                  <a:cubicBezTo>
                    <a:pt x="309" y="309"/>
                    <a:pt x="309" y="309"/>
                    <a:pt x="309" y="309"/>
                  </a:cubicBezTo>
                  <a:cubicBezTo>
                    <a:pt x="309" y="320"/>
                    <a:pt x="309" y="320"/>
                    <a:pt x="309" y="320"/>
                  </a:cubicBezTo>
                  <a:cubicBezTo>
                    <a:pt x="309" y="354"/>
                    <a:pt x="293" y="386"/>
                    <a:pt x="263" y="4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22"/>
            <p:cNvSpPr>
              <a:spLocks/>
            </p:cNvSpPr>
            <p:nvPr/>
          </p:nvSpPr>
          <p:spPr bwMode="auto">
            <a:xfrm>
              <a:off x="4811" y="561"/>
              <a:ext cx="634" cy="447"/>
            </a:xfrm>
            <a:custGeom>
              <a:avLst/>
              <a:gdLst>
                <a:gd name="T0" fmla="*/ 309 w 309"/>
                <a:gd name="T1" fmla="*/ 140 h 217"/>
                <a:gd name="T2" fmla="*/ 309 w 309"/>
                <a:gd name="T3" fmla="*/ 5 h 217"/>
                <a:gd name="T4" fmla="*/ 270 w 309"/>
                <a:gd name="T5" fmla="*/ 0 h 217"/>
                <a:gd name="T6" fmla="*/ 140 w 309"/>
                <a:gd name="T7" fmla="*/ 78 h 217"/>
                <a:gd name="T8" fmla="*/ 139 w 309"/>
                <a:gd name="T9" fmla="*/ 78 h 217"/>
                <a:gd name="T10" fmla="*/ 139 w 309"/>
                <a:gd name="T11" fmla="*/ 5 h 217"/>
                <a:gd name="T12" fmla="*/ 0 w 309"/>
                <a:gd name="T13" fmla="*/ 5 h 217"/>
                <a:gd name="T14" fmla="*/ 0 w 309"/>
                <a:gd name="T15" fmla="*/ 217 h 217"/>
                <a:gd name="T16" fmla="*/ 271 w 309"/>
                <a:gd name="T17" fmla="*/ 138 h 217"/>
                <a:gd name="T18" fmla="*/ 309 w 309"/>
                <a:gd name="T19" fmla="*/ 14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9" h="217">
                  <a:moveTo>
                    <a:pt x="309" y="140"/>
                  </a:moveTo>
                  <a:cubicBezTo>
                    <a:pt x="309" y="5"/>
                    <a:pt x="309" y="5"/>
                    <a:pt x="309" y="5"/>
                  </a:cubicBezTo>
                  <a:cubicBezTo>
                    <a:pt x="299" y="2"/>
                    <a:pt x="281" y="0"/>
                    <a:pt x="270" y="0"/>
                  </a:cubicBezTo>
                  <a:cubicBezTo>
                    <a:pt x="218" y="0"/>
                    <a:pt x="167" y="21"/>
                    <a:pt x="140" y="78"/>
                  </a:cubicBezTo>
                  <a:cubicBezTo>
                    <a:pt x="139" y="78"/>
                    <a:pt x="139" y="78"/>
                    <a:pt x="139" y="78"/>
                  </a:cubicBezTo>
                  <a:cubicBezTo>
                    <a:pt x="139" y="5"/>
                    <a:pt x="139" y="5"/>
                    <a:pt x="139" y="5"/>
                  </a:cubicBezTo>
                  <a:cubicBezTo>
                    <a:pt x="0" y="5"/>
                    <a:pt x="0" y="5"/>
                    <a:pt x="0" y="5"/>
                  </a:cubicBezTo>
                  <a:cubicBezTo>
                    <a:pt x="0" y="217"/>
                    <a:pt x="0" y="217"/>
                    <a:pt x="0" y="217"/>
                  </a:cubicBezTo>
                  <a:cubicBezTo>
                    <a:pt x="80" y="167"/>
                    <a:pt x="173" y="138"/>
                    <a:pt x="271" y="138"/>
                  </a:cubicBezTo>
                  <a:cubicBezTo>
                    <a:pt x="284" y="138"/>
                    <a:pt x="296" y="139"/>
                    <a:pt x="309"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23"/>
            <p:cNvSpPr>
              <a:spLocks/>
            </p:cNvSpPr>
            <p:nvPr/>
          </p:nvSpPr>
          <p:spPr bwMode="auto">
            <a:xfrm>
              <a:off x="4433" y="90"/>
              <a:ext cx="289" cy="1262"/>
            </a:xfrm>
            <a:custGeom>
              <a:avLst/>
              <a:gdLst>
                <a:gd name="T0" fmla="*/ 141 w 141"/>
                <a:gd name="T1" fmla="*/ 469 h 613"/>
                <a:gd name="T2" fmla="*/ 141 w 141"/>
                <a:gd name="T3" fmla="*/ 0 h 613"/>
                <a:gd name="T4" fmla="*/ 0 w 141"/>
                <a:gd name="T5" fmla="*/ 0 h 613"/>
                <a:gd name="T6" fmla="*/ 0 w 141"/>
                <a:gd name="T7" fmla="*/ 613 h 613"/>
                <a:gd name="T8" fmla="*/ 141 w 141"/>
                <a:gd name="T9" fmla="*/ 469 h 613"/>
              </a:gdLst>
              <a:ahLst/>
              <a:cxnLst>
                <a:cxn ang="0">
                  <a:pos x="T0" y="T1"/>
                </a:cxn>
                <a:cxn ang="0">
                  <a:pos x="T2" y="T3"/>
                </a:cxn>
                <a:cxn ang="0">
                  <a:pos x="T4" y="T5"/>
                </a:cxn>
                <a:cxn ang="0">
                  <a:pos x="T6" y="T7"/>
                </a:cxn>
                <a:cxn ang="0">
                  <a:pos x="T8" y="T9"/>
                </a:cxn>
              </a:cxnLst>
              <a:rect l="0" t="0" r="r" b="b"/>
              <a:pathLst>
                <a:path w="141" h="613">
                  <a:moveTo>
                    <a:pt x="141" y="469"/>
                  </a:moveTo>
                  <a:cubicBezTo>
                    <a:pt x="141" y="0"/>
                    <a:pt x="141" y="0"/>
                    <a:pt x="141" y="0"/>
                  </a:cubicBezTo>
                  <a:cubicBezTo>
                    <a:pt x="0" y="0"/>
                    <a:pt x="0" y="0"/>
                    <a:pt x="0" y="0"/>
                  </a:cubicBezTo>
                  <a:cubicBezTo>
                    <a:pt x="0" y="613"/>
                    <a:pt x="0" y="613"/>
                    <a:pt x="0" y="613"/>
                  </a:cubicBezTo>
                  <a:cubicBezTo>
                    <a:pt x="39" y="556"/>
                    <a:pt x="87" y="508"/>
                    <a:pt x="141" y="4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24"/>
            <p:cNvSpPr>
              <a:spLocks/>
            </p:cNvSpPr>
            <p:nvPr/>
          </p:nvSpPr>
          <p:spPr bwMode="auto">
            <a:xfrm>
              <a:off x="4433" y="160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25"/>
            <p:cNvSpPr>
              <a:spLocks/>
            </p:cNvSpPr>
            <p:nvPr/>
          </p:nvSpPr>
          <p:spPr bwMode="auto">
            <a:xfrm>
              <a:off x="4811" y="899"/>
              <a:ext cx="400" cy="706"/>
            </a:xfrm>
            <a:custGeom>
              <a:avLst/>
              <a:gdLst>
                <a:gd name="T0" fmla="*/ 143 w 195"/>
                <a:gd name="T1" fmla="*/ 343 h 343"/>
                <a:gd name="T2" fmla="*/ 143 w 195"/>
                <a:gd name="T3" fmla="*/ 123 h 343"/>
                <a:gd name="T4" fmla="*/ 195 w 195"/>
                <a:gd name="T5" fmla="*/ 0 h 343"/>
                <a:gd name="T6" fmla="*/ 0 w 195"/>
                <a:gd name="T7" fmla="*/ 96 h 343"/>
                <a:gd name="T8" fmla="*/ 0 w 195"/>
                <a:gd name="T9" fmla="*/ 343 h 343"/>
                <a:gd name="T10" fmla="*/ 143 w 195"/>
                <a:gd name="T11" fmla="*/ 343 h 343"/>
              </a:gdLst>
              <a:ahLst/>
              <a:cxnLst>
                <a:cxn ang="0">
                  <a:pos x="T0" y="T1"/>
                </a:cxn>
                <a:cxn ang="0">
                  <a:pos x="T2" y="T3"/>
                </a:cxn>
                <a:cxn ang="0">
                  <a:pos x="T4" y="T5"/>
                </a:cxn>
                <a:cxn ang="0">
                  <a:pos x="T6" y="T7"/>
                </a:cxn>
                <a:cxn ang="0">
                  <a:pos x="T8" y="T9"/>
                </a:cxn>
                <a:cxn ang="0">
                  <a:pos x="T10" y="T11"/>
                </a:cxn>
              </a:cxnLst>
              <a:rect l="0" t="0" r="r" b="b"/>
              <a:pathLst>
                <a:path w="195" h="343">
                  <a:moveTo>
                    <a:pt x="143" y="343"/>
                  </a:moveTo>
                  <a:cubicBezTo>
                    <a:pt x="143" y="123"/>
                    <a:pt x="143" y="123"/>
                    <a:pt x="143" y="123"/>
                  </a:cubicBezTo>
                  <a:cubicBezTo>
                    <a:pt x="143" y="64"/>
                    <a:pt x="163" y="23"/>
                    <a:pt x="195" y="0"/>
                  </a:cubicBezTo>
                  <a:cubicBezTo>
                    <a:pt x="123" y="17"/>
                    <a:pt x="57" y="50"/>
                    <a:pt x="0" y="96"/>
                  </a:cubicBezTo>
                  <a:cubicBezTo>
                    <a:pt x="0" y="343"/>
                    <a:pt x="0" y="343"/>
                    <a:pt x="0" y="343"/>
                  </a:cubicBezTo>
                  <a:lnTo>
                    <a:pt x="143"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26"/>
            <p:cNvSpPr>
              <a:spLocks/>
            </p:cNvSpPr>
            <p:nvPr/>
          </p:nvSpPr>
          <p:spPr bwMode="auto">
            <a:xfrm>
              <a:off x="4455" y="1175"/>
              <a:ext cx="267" cy="426"/>
            </a:xfrm>
            <a:custGeom>
              <a:avLst/>
              <a:gdLst>
                <a:gd name="T0" fmla="*/ 130 w 130"/>
                <a:gd name="T1" fmla="*/ 0 h 207"/>
                <a:gd name="T2" fmla="*/ 0 w 130"/>
                <a:gd name="T3" fmla="*/ 207 h 207"/>
                <a:gd name="T4" fmla="*/ 130 w 130"/>
                <a:gd name="T5" fmla="*/ 207 h 207"/>
                <a:gd name="T6" fmla="*/ 130 w 130"/>
                <a:gd name="T7" fmla="*/ 0 h 207"/>
              </a:gdLst>
              <a:ahLst/>
              <a:cxnLst>
                <a:cxn ang="0">
                  <a:pos x="T0" y="T1"/>
                </a:cxn>
                <a:cxn ang="0">
                  <a:pos x="T2" y="T3"/>
                </a:cxn>
                <a:cxn ang="0">
                  <a:pos x="T4" y="T5"/>
                </a:cxn>
                <a:cxn ang="0">
                  <a:pos x="T6" y="T7"/>
                </a:cxn>
              </a:cxnLst>
              <a:rect l="0" t="0" r="r" b="b"/>
              <a:pathLst>
                <a:path w="130" h="207">
                  <a:moveTo>
                    <a:pt x="130" y="0"/>
                  </a:moveTo>
                  <a:cubicBezTo>
                    <a:pt x="73" y="57"/>
                    <a:pt x="28" y="128"/>
                    <a:pt x="0" y="207"/>
                  </a:cubicBezTo>
                  <a:cubicBezTo>
                    <a:pt x="130" y="207"/>
                    <a:pt x="130" y="207"/>
                    <a:pt x="130" y="207"/>
                  </a:cubicBezTo>
                  <a:lnTo>
                    <a:pt x="1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802429520"/>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Lst>
  <p:transition spd="slow">
    <p:fade/>
  </p:transition>
  <p:hf hdr="0" ftr="0" dt="0"/>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96"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1557" y="1558"/>
                        <a:ext cx="1556" cy="1556"/>
                      </a:xfrm>
                      <a:prstGeom prst="rect">
                        <a:avLst/>
                      </a:prstGeom>
                    </p:spPr>
                  </p:pic>
                </p:oleObj>
              </mc:Fallback>
            </mc:AlternateContent>
          </a:graphicData>
        </a:graphic>
      </p:graphicFrame>
      <p:grpSp>
        <p:nvGrpSpPr>
          <p:cNvPr id="5" name="Group 4"/>
          <p:cNvGrpSpPr/>
          <p:nvPr userDrawn="1"/>
        </p:nvGrpSpPr>
        <p:grpSpPr>
          <a:xfrm>
            <a:off x="11213307" y="6411402"/>
            <a:ext cx="738448" cy="254250"/>
            <a:chOff x="1636713" y="-1588"/>
            <a:chExt cx="2508250" cy="863600"/>
          </a:xfrm>
          <a:solidFill>
            <a:schemeClr val="tx1"/>
          </a:solidFill>
        </p:grpSpPr>
        <p:sp>
          <p:nvSpPr>
            <p:cNvPr id="8" name="Freeform 11"/>
            <p:cNvSpPr>
              <a:spLocks/>
            </p:cNvSpPr>
            <p:nvPr userDrawn="1"/>
          </p:nvSpPr>
          <p:spPr bwMode="auto">
            <a:xfrm>
              <a:off x="1636713" y="234950"/>
              <a:ext cx="428625" cy="542925"/>
            </a:xfrm>
            <a:custGeom>
              <a:avLst/>
              <a:gdLst>
                <a:gd name="T0" fmla="*/ 292 w 292"/>
                <a:gd name="T1" fmla="*/ 6 h 370"/>
                <a:gd name="T2" fmla="*/ 238 w 292"/>
                <a:gd name="T3" fmla="*/ 6 h 370"/>
                <a:gd name="T4" fmla="*/ 146 w 292"/>
                <a:gd name="T5" fmla="*/ 315 h 370"/>
                <a:gd name="T6" fmla="*/ 54 w 292"/>
                <a:gd name="T7" fmla="*/ 6 h 370"/>
                <a:gd name="T8" fmla="*/ 0 w 292"/>
                <a:gd name="T9" fmla="*/ 6 h 370"/>
                <a:gd name="T10" fmla="*/ 115 w 292"/>
                <a:gd name="T11" fmla="*/ 367 h 370"/>
                <a:gd name="T12" fmla="*/ 143 w 292"/>
                <a:gd name="T13" fmla="*/ 370 h 370"/>
                <a:gd name="T14" fmla="*/ 143 w 292"/>
                <a:gd name="T15" fmla="*/ 370 h 370"/>
                <a:gd name="T16" fmla="*/ 146 w 292"/>
                <a:gd name="T17" fmla="*/ 370 h 370"/>
                <a:gd name="T18" fmla="*/ 149 w 292"/>
                <a:gd name="T19" fmla="*/ 370 h 370"/>
                <a:gd name="T20" fmla="*/ 149 w 292"/>
                <a:gd name="T21" fmla="*/ 370 h 370"/>
                <a:gd name="T22" fmla="*/ 176 w 292"/>
                <a:gd name="T23" fmla="*/ 367 h 370"/>
                <a:gd name="T24" fmla="*/ 292 w 292"/>
                <a:gd name="T25" fmla="*/ 6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2" h="370">
                  <a:moveTo>
                    <a:pt x="292" y="6"/>
                  </a:moveTo>
                  <a:cubicBezTo>
                    <a:pt x="266" y="0"/>
                    <a:pt x="238" y="6"/>
                    <a:pt x="238" y="6"/>
                  </a:cubicBezTo>
                  <a:cubicBezTo>
                    <a:pt x="146" y="315"/>
                    <a:pt x="146" y="315"/>
                    <a:pt x="146" y="315"/>
                  </a:cubicBezTo>
                  <a:cubicBezTo>
                    <a:pt x="54" y="6"/>
                    <a:pt x="54" y="6"/>
                    <a:pt x="54" y="6"/>
                  </a:cubicBezTo>
                  <a:cubicBezTo>
                    <a:pt x="54" y="6"/>
                    <a:pt x="25" y="0"/>
                    <a:pt x="0" y="6"/>
                  </a:cubicBezTo>
                  <a:cubicBezTo>
                    <a:pt x="115" y="367"/>
                    <a:pt x="115" y="367"/>
                    <a:pt x="115" y="367"/>
                  </a:cubicBezTo>
                  <a:cubicBezTo>
                    <a:pt x="115" y="367"/>
                    <a:pt x="124" y="370"/>
                    <a:pt x="143" y="370"/>
                  </a:cubicBezTo>
                  <a:cubicBezTo>
                    <a:pt x="143" y="370"/>
                    <a:pt x="143" y="370"/>
                    <a:pt x="143" y="370"/>
                  </a:cubicBezTo>
                  <a:cubicBezTo>
                    <a:pt x="144" y="370"/>
                    <a:pt x="145" y="370"/>
                    <a:pt x="146" y="370"/>
                  </a:cubicBezTo>
                  <a:cubicBezTo>
                    <a:pt x="147" y="370"/>
                    <a:pt x="148" y="370"/>
                    <a:pt x="149" y="370"/>
                  </a:cubicBezTo>
                  <a:cubicBezTo>
                    <a:pt x="149" y="370"/>
                    <a:pt x="149" y="370"/>
                    <a:pt x="149" y="370"/>
                  </a:cubicBezTo>
                  <a:cubicBezTo>
                    <a:pt x="167" y="370"/>
                    <a:pt x="176" y="367"/>
                    <a:pt x="176" y="367"/>
                  </a:cubicBezTo>
                  <a:lnTo>
                    <a:pt x="292"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17073"/>
                </a:solidFill>
                <a:effectLst/>
                <a:uLnTx/>
                <a:uFillTx/>
                <a:latin typeface="Segoe UI"/>
                <a:ea typeface="+mn-ea"/>
                <a:cs typeface="+mn-cs"/>
              </a:endParaRPr>
            </a:p>
          </p:txBody>
        </p:sp>
        <p:sp>
          <p:nvSpPr>
            <p:cNvPr id="9" name="Freeform 12"/>
            <p:cNvSpPr>
              <a:spLocks noEditPoints="1"/>
            </p:cNvSpPr>
            <p:nvPr userDrawn="1"/>
          </p:nvSpPr>
          <p:spPr bwMode="auto">
            <a:xfrm>
              <a:off x="2046288" y="385763"/>
              <a:ext cx="382588" cy="471488"/>
            </a:xfrm>
            <a:custGeom>
              <a:avLst/>
              <a:gdLst>
                <a:gd name="T0" fmla="*/ 239 w 260"/>
                <a:gd name="T1" fmla="*/ 147 h 321"/>
                <a:gd name="T2" fmla="*/ 130 w 260"/>
                <a:gd name="T3" fmla="*/ 0 h 321"/>
                <a:gd name="T4" fmla="*/ 12 w 260"/>
                <a:gd name="T5" fmla="*/ 152 h 321"/>
                <a:gd name="T6" fmla="*/ 223 w 260"/>
                <a:gd name="T7" fmla="*/ 256 h 321"/>
                <a:gd name="T8" fmla="*/ 215 w 260"/>
                <a:gd name="T9" fmla="*/ 217 h 321"/>
                <a:gd name="T10" fmla="*/ 61 w 260"/>
                <a:gd name="T11" fmla="*/ 147 h 321"/>
                <a:gd name="T12" fmla="*/ 239 w 260"/>
                <a:gd name="T13" fmla="*/ 147 h 321"/>
                <a:gd name="T14" fmla="*/ 129 w 260"/>
                <a:gd name="T15" fmla="*/ 39 h 321"/>
                <a:gd name="T16" fmla="*/ 189 w 260"/>
                <a:gd name="T17" fmla="*/ 109 h 321"/>
                <a:gd name="T18" fmla="*/ 63 w 260"/>
                <a:gd name="T19" fmla="*/ 109 h 321"/>
                <a:gd name="T20" fmla="*/ 129 w 260"/>
                <a:gd name="T21" fmla="*/ 39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0" h="321">
                  <a:moveTo>
                    <a:pt x="239" y="147"/>
                  </a:moveTo>
                  <a:cubicBezTo>
                    <a:pt x="239" y="147"/>
                    <a:pt x="260" y="0"/>
                    <a:pt x="130" y="0"/>
                  </a:cubicBezTo>
                  <a:cubicBezTo>
                    <a:pt x="0" y="0"/>
                    <a:pt x="12" y="152"/>
                    <a:pt x="12" y="152"/>
                  </a:cubicBezTo>
                  <a:cubicBezTo>
                    <a:pt x="12" y="152"/>
                    <a:pt x="19" y="321"/>
                    <a:pt x="223" y="256"/>
                  </a:cubicBezTo>
                  <a:cubicBezTo>
                    <a:pt x="223" y="256"/>
                    <a:pt x="223" y="240"/>
                    <a:pt x="215" y="217"/>
                  </a:cubicBezTo>
                  <a:cubicBezTo>
                    <a:pt x="54" y="268"/>
                    <a:pt x="61" y="147"/>
                    <a:pt x="61" y="147"/>
                  </a:cubicBezTo>
                  <a:lnTo>
                    <a:pt x="239" y="147"/>
                  </a:lnTo>
                  <a:close/>
                  <a:moveTo>
                    <a:pt x="129" y="39"/>
                  </a:moveTo>
                  <a:cubicBezTo>
                    <a:pt x="193" y="39"/>
                    <a:pt x="189" y="109"/>
                    <a:pt x="189" y="109"/>
                  </a:cubicBezTo>
                  <a:cubicBezTo>
                    <a:pt x="63" y="109"/>
                    <a:pt x="63" y="109"/>
                    <a:pt x="63" y="109"/>
                  </a:cubicBezTo>
                  <a:cubicBezTo>
                    <a:pt x="63" y="109"/>
                    <a:pt x="66" y="39"/>
                    <a:pt x="129"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17073"/>
                </a:solidFill>
                <a:effectLst/>
                <a:uLnTx/>
                <a:uFillTx/>
                <a:latin typeface="Segoe UI"/>
                <a:ea typeface="+mn-ea"/>
                <a:cs typeface="+mn-cs"/>
              </a:endParaRPr>
            </a:p>
          </p:txBody>
        </p:sp>
        <p:sp>
          <p:nvSpPr>
            <p:cNvPr id="10" name="Freeform 13"/>
            <p:cNvSpPr>
              <a:spLocks/>
            </p:cNvSpPr>
            <p:nvPr userDrawn="1"/>
          </p:nvSpPr>
          <p:spPr bwMode="auto">
            <a:xfrm>
              <a:off x="2463800" y="1588"/>
              <a:ext cx="158750" cy="804863"/>
            </a:xfrm>
            <a:custGeom>
              <a:avLst/>
              <a:gdLst>
                <a:gd name="T0" fmla="*/ 0 w 108"/>
                <a:gd name="T1" fmla="*/ 7 h 549"/>
                <a:gd name="T2" fmla="*/ 0 w 108"/>
                <a:gd name="T3" fmla="*/ 471 h 549"/>
                <a:gd name="T4" fmla="*/ 106 w 108"/>
                <a:gd name="T5" fmla="*/ 526 h 549"/>
                <a:gd name="T6" fmla="*/ 101 w 108"/>
                <a:gd name="T7" fmla="*/ 487 h 549"/>
                <a:gd name="T8" fmla="*/ 50 w 108"/>
                <a:gd name="T9" fmla="*/ 453 h 549"/>
                <a:gd name="T10" fmla="*/ 50 w 108"/>
                <a:gd name="T11" fmla="*/ 7 h 549"/>
                <a:gd name="T12" fmla="*/ 25 w 108"/>
                <a:gd name="T13" fmla="*/ 0 h 549"/>
                <a:gd name="T14" fmla="*/ 0 w 108"/>
                <a:gd name="T15" fmla="*/ 7 h 5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549">
                  <a:moveTo>
                    <a:pt x="0" y="7"/>
                  </a:moveTo>
                  <a:cubicBezTo>
                    <a:pt x="0" y="471"/>
                    <a:pt x="0" y="471"/>
                    <a:pt x="0" y="471"/>
                  </a:cubicBezTo>
                  <a:cubicBezTo>
                    <a:pt x="0" y="471"/>
                    <a:pt x="1" y="549"/>
                    <a:pt x="106" y="526"/>
                  </a:cubicBezTo>
                  <a:cubicBezTo>
                    <a:pt x="106" y="526"/>
                    <a:pt x="108" y="510"/>
                    <a:pt x="101" y="487"/>
                  </a:cubicBezTo>
                  <a:cubicBezTo>
                    <a:pt x="101" y="487"/>
                    <a:pt x="50" y="505"/>
                    <a:pt x="50" y="453"/>
                  </a:cubicBezTo>
                  <a:cubicBezTo>
                    <a:pt x="50" y="7"/>
                    <a:pt x="50" y="7"/>
                    <a:pt x="50" y="7"/>
                  </a:cubicBezTo>
                  <a:cubicBezTo>
                    <a:pt x="50" y="7"/>
                    <a:pt x="47" y="0"/>
                    <a:pt x="25" y="0"/>
                  </a:cubicBezTo>
                  <a:cubicBezTo>
                    <a:pt x="2" y="0"/>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17073"/>
                </a:solidFill>
                <a:effectLst/>
                <a:uLnTx/>
                <a:uFillTx/>
                <a:latin typeface="Segoe UI"/>
                <a:ea typeface="+mn-ea"/>
                <a:cs typeface="+mn-cs"/>
              </a:endParaRPr>
            </a:p>
          </p:txBody>
        </p:sp>
        <p:sp>
          <p:nvSpPr>
            <p:cNvPr id="11" name="Freeform 14"/>
            <p:cNvSpPr>
              <a:spLocks/>
            </p:cNvSpPr>
            <p:nvPr userDrawn="1"/>
          </p:nvSpPr>
          <p:spPr bwMode="auto">
            <a:xfrm>
              <a:off x="2667000" y="385763"/>
              <a:ext cx="204788" cy="392113"/>
            </a:xfrm>
            <a:custGeom>
              <a:avLst/>
              <a:gdLst>
                <a:gd name="T0" fmla="*/ 0 w 139"/>
                <a:gd name="T1" fmla="*/ 9 h 267"/>
                <a:gd name="T2" fmla="*/ 0 w 139"/>
                <a:gd name="T3" fmla="*/ 263 h 267"/>
                <a:gd name="T4" fmla="*/ 28 w 139"/>
                <a:gd name="T5" fmla="*/ 267 h 267"/>
                <a:gd name="T6" fmla="*/ 50 w 139"/>
                <a:gd name="T7" fmla="*/ 262 h 267"/>
                <a:gd name="T8" fmla="*/ 50 w 139"/>
                <a:gd name="T9" fmla="*/ 113 h 267"/>
                <a:gd name="T10" fmla="*/ 131 w 139"/>
                <a:gd name="T11" fmla="*/ 50 h 267"/>
                <a:gd name="T12" fmla="*/ 131 w 139"/>
                <a:gd name="T13" fmla="*/ 3 h 267"/>
                <a:gd name="T14" fmla="*/ 44 w 139"/>
                <a:gd name="T15" fmla="*/ 49 h 267"/>
                <a:gd name="T16" fmla="*/ 40 w 139"/>
                <a:gd name="T17" fmla="*/ 7 h 267"/>
                <a:gd name="T18" fmla="*/ 0 w 139"/>
                <a:gd name="T19" fmla="*/ 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 h="267">
                  <a:moveTo>
                    <a:pt x="0" y="9"/>
                  </a:moveTo>
                  <a:cubicBezTo>
                    <a:pt x="0" y="263"/>
                    <a:pt x="0" y="263"/>
                    <a:pt x="0" y="263"/>
                  </a:cubicBezTo>
                  <a:cubicBezTo>
                    <a:pt x="0" y="263"/>
                    <a:pt x="6" y="267"/>
                    <a:pt x="28" y="267"/>
                  </a:cubicBezTo>
                  <a:cubicBezTo>
                    <a:pt x="49" y="267"/>
                    <a:pt x="50" y="262"/>
                    <a:pt x="50" y="262"/>
                  </a:cubicBezTo>
                  <a:cubicBezTo>
                    <a:pt x="50" y="113"/>
                    <a:pt x="50" y="113"/>
                    <a:pt x="50" y="113"/>
                  </a:cubicBezTo>
                  <a:cubicBezTo>
                    <a:pt x="50" y="113"/>
                    <a:pt x="50" y="40"/>
                    <a:pt x="131" y="50"/>
                  </a:cubicBezTo>
                  <a:cubicBezTo>
                    <a:pt x="131" y="50"/>
                    <a:pt x="139" y="37"/>
                    <a:pt x="131" y="3"/>
                  </a:cubicBezTo>
                  <a:cubicBezTo>
                    <a:pt x="131" y="3"/>
                    <a:pt x="63" y="4"/>
                    <a:pt x="44" y="49"/>
                  </a:cubicBezTo>
                  <a:cubicBezTo>
                    <a:pt x="44" y="49"/>
                    <a:pt x="44" y="19"/>
                    <a:pt x="40" y="7"/>
                  </a:cubicBezTo>
                  <a:cubicBezTo>
                    <a:pt x="40" y="7"/>
                    <a:pt x="12" y="0"/>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17073"/>
                </a:solidFill>
                <a:effectLst/>
                <a:uLnTx/>
                <a:uFillTx/>
                <a:latin typeface="Segoe UI"/>
                <a:ea typeface="+mn-ea"/>
                <a:cs typeface="+mn-cs"/>
              </a:endParaRPr>
            </a:p>
          </p:txBody>
        </p:sp>
        <p:sp>
          <p:nvSpPr>
            <p:cNvPr id="12" name="Freeform 15"/>
            <p:cNvSpPr>
              <a:spLocks noEditPoints="1"/>
            </p:cNvSpPr>
            <p:nvPr userDrawn="1"/>
          </p:nvSpPr>
          <p:spPr bwMode="auto">
            <a:xfrm>
              <a:off x="2860675" y="325438"/>
              <a:ext cx="336550" cy="512763"/>
            </a:xfrm>
            <a:custGeom>
              <a:avLst/>
              <a:gdLst>
                <a:gd name="T0" fmla="*/ 40 w 229"/>
                <a:gd name="T1" fmla="*/ 52 h 349"/>
                <a:gd name="T2" fmla="*/ 52 w 229"/>
                <a:gd name="T3" fmla="*/ 90 h 349"/>
                <a:gd name="T4" fmla="*/ 170 w 229"/>
                <a:gd name="T5" fmla="*/ 144 h 349"/>
                <a:gd name="T6" fmla="*/ 18 w 229"/>
                <a:gd name="T7" fmla="*/ 226 h 349"/>
                <a:gd name="T8" fmla="*/ 220 w 229"/>
                <a:gd name="T9" fmla="*/ 298 h 349"/>
                <a:gd name="T10" fmla="*/ 220 w 229"/>
                <a:gd name="T11" fmla="*/ 134 h 349"/>
                <a:gd name="T12" fmla="*/ 40 w 229"/>
                <a:gd name="T13" fmla="*/ 52 h 349"/>
                <a:gd name="T14" fmla="*/ 172 w 229"/>
                <a:gd name="T15" fmla="*/ 264 h 349"/>
                <a:gd name="T16" fmla="*/ 69 w 229"/>
                <a:gd name="T17" fmla="*/ 224 h 349"/>
                <a:gd name="T18" fmla="*/ 172 w 229"/>
                <a:gd name="T19" fmla="*/ 184 h 349"/>
                <a:gd name="T20" fmla="*/ 172 w 229"/>
                <a:gd name="T21" fmla="*/ 264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49">
                  <a:moveTo>
                    <a:pt x="40" y="52"/>
                  </a:moveTo>
                  <a:cubicBezTo>
                    <a:pt x="40" y="52"/>
                    <a:pt x="41" y="82"/>
                    <a:pt x="52" y="90"/>
                  </a:cubicBezTo>
                  <a:cubicBezTo>
                    <a:pt x="52" y="90"/>
                    <a:pt x="180" y="49"/>
                    <a:pt x="170" y="144"/>
                  </a:cubicBezTo>
                  <a:cubicBezTo>
                    <a:pt x="170" y="144"/>
                    <a:pt x="24" y="123"/>
                    <a:pt x="18" y="226"/>
                  </a:cubicBezTo>
                  <a:cubicBezTo>
                    <a:pt x="18" y="226"/>
                    <a:pt x="0" y="349"/>
                    <a:pt x="220" y="298"/>
                  </a:cubicBezTo>
                  <a:cubicBezTo>
                    <a:pt x="220" y="134"/>
                    <a:pt x="220" y="134"/>
                    <a:pt x="220" y="134"/>
                  </a:cubicBezTo>
                  <a:cubicBezTo>
                    <a:pt x="220" y="134"/>
                    <a:pt x="229" y="0"/>
                    <a:pt x="40" y="52"/>
                  </a:cubicBezTo>
                  <a:close/>
                  <a:moveTo>
                    <a:pt x="172" y="264"/>
                  </a:moveTo>
                  <a:cubicBezTo>
                    <a:pt x="172" y="264"/>
                    <a:pt x="66" y="299"/>
                    <a:pt x="69" y="224"/>
                  </a:cubicBezTo>
                  <a:cubicBezTo>
                    <a:pt x="69" y="162"/>
                    <a:pt x="172" y="184"/>
                    <a:pt x="172" y="184"/>
                  </a:cubicBezTo>
                  <a:lnTo>
                    <a:pt x="172"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17073"/>
                </a:solidFill>
                <a:effectLst/>
                <a:uLnTx/>
                <a:uFillTx/>
                <a:latin typeface="Segoe UI"/>
                <a:ea typeface="+mn-ea"/>
                <a:cs typeface="+mn-cs"/>
              </a:endParaRPr>
            </a:p>
          </p:txBody>
        </p:sp>
        <p:sp>
          <p:nvSpPr>
            <p:cNvPr id="13" name="Freeform 16"/>
            <p:cNvSpPr>
              <a:spLocks noEditPoints="1"/>
            </p:cNvSpPr>
            <p:nvPr userDrawn="1"/>
          </p:nvSpPr>
          <p:spPr bwMode="auto">
            <a:xfrm>
              <a:off x="3617913" y="325438"/>
              <a:ext cx="336550" cy="512763"/>
            </a:xfrm>
            <a:custGeom>
              <a:avLst/>
              <a:gdLst>
                <a:gd name="T0" fmla="*/ 40 w 229"/>
                <a:gd name="T1" fmla="*/ 52 h 349"/>
                <a:gd name="T2" fmla="*/ 52 w 229"/>
                <a:gd name="T3" fmla="*/ 90 h 349"/>
                <a:gd name="T4" fmla="*/ 170 w 229"/>
                <a:gd name="T5" fmla="*/ 144 h 349"/>
                <a:gd name="T6" fmla="*/ 18 w 229"/>
                <a:gd name="T7" fmla="*/ 226 h 349"/>
                <a:gd name="T8" fmla="*/ 220 w 229"/>
                <a:gd name="T9" fmla="*/ 298 h 349"/>
                <a:gd name="T10" fmla="*/ 220 w 229"/>
                <a:gd name="T11" fmla="*/ 134 h 349"/>
                <a:gd name="T12" fmla="*/ 40 w 229"/>
                <a:gd name="T13" fmla="*/ 52 h 349"/>
                <a:gd name="T14" fmla="*/ 172 w 229"/>
                <a:gd name="T15" fmla="*/ 264 h 349"/>
                <a:gd name="T16" fmla="*/ 69 w 229"/>
                <a:gd name="T17" fmla="*/ 224 h 349"/>
                <a:gd name="T18" fmla="*/ 172 w 229"/>
                <a:gd name="T19" fmla="*/ 184 h 349"/>
                <a:gd name="T20" fmla="*/ 172 w 229"/>
                <a:gd name="T21" fmla="*/ 264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49">
                  <a:moveTo>
                    <a:pt x="40" y="52"/>
                  </a:moveTo>
                  <a:cubicBezTo>
                    <a:pt x="40" y="52"/>
                    <a:pt x="41" y="82"/>
                    <a:pt x="52" y="90"/>
                  </a:cubicBezTo>
                  <a:cubicBezTo>
                    <a:pt x="52" y="90"/>
                    <a:pt x="180" y="49"/>
                    <a:pt x="170" y="144"/>
                  </a:cubicBezTo>
                  <a:cubicBezTo>
                    <a:pt x="170" y="144"/>
                    <a:pt x="24" y="123"/>
                    <a:pt x="18" y="226"/>
                  </a:cubicBezTo>
                  <a:cubicBezTo>
                    <a:pt x="18" y="226"/>
                    <a:pt x="0" y="349"/>
                    <a:pt x="220" y="298"/>
                  </a:cubicBezTo>
                  <a:cubicBezTo>
                    <a:pt x="220" y="134"/>
                    <a:pt x="220" y="134"/>
                    <a:pt x="220" y="134"/>
                  </a:cubicBezTo>
                  <a:cubicBezTo>
                    <a:pt x="220" y="134"/>
                    <a:pt x="229" y="0"/>
                    <a:pt x="40" y="52"/>
                  </a:cubicBezTo>
                  <a:close/>
                  <a:moveTo>
                    <a:pt x="172" y="264"/>
                  </a:moveTo>
                  <a:cubicBezTo>
                    <a:pt x="172" y="264"/>
                    <a:pt x="66" y="299"/>
                    <a:pt x="69" y="224"/>
                  </a:cubicBezTo>
                  <a:cubicBezTo>
                    <a:pt x="69" y="162"/>
                    <a:pt x="172" y="184"/>
                    <a:pt x="172" y="184"/>
                  </a:cubicBezTo>
                  <a:lnTo>
                    <a:pt x="172"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17073"/>
                </a:solidFill>
                <a:effectLst/>
                <a:uLnTx/>
                <a:uFillTx/>
                <a:latin typeface="Segoe UI"/>
                <a:ea typeface="+mn-ea"/>
                <a:cs typeface="+mn-cs"/>
              </a:endParaRPr>
            </a:p>
          </p:txBody>
        </p:sp>
        <p:sp>
          <p:nvSpPr>
            <p:cNvPr id="14" name="Freeform 17"/>
            <p:cNvSpPr>
              <a:spLocks noEditPoints="1"/>
            </p:cNvSpPr>
            <p:nvPr userDrawn="1"/>
          </p:nvSpPr>
          <p:spPr bwMode="auto">
            <a:xfrm>
              <a:off x="3224213" y="-1588"/>
              <a:ext cx="357188" cy="863600"/>
            </a:xfrm>
            <a:custGeom>
              <a:avLst/>
              <a:gdLst>
                <a:gd name="T0" fmla="*/ 197 w 244"/>
                <a:gd name="T1" fmla="*/ 8 h 588"/>
                <a:gd name="T2" fmla="*/ 197 w 244"/>
                <a:gd name="T3" fmla="*/ 272 h 588"/>
                <a:gd name="T4" fmla="*/ 16 w 244"/>
                <a:gd name="T5" fmla="*/ 404 h 588"/>
                <a:gd name="T6" fmla="*/ 244 w 244"/>
                <a:gd name="T7" fmla="*/ 521 h 588"/>
                <a:gd name="T8" fmla="*/ 244 w 244"/>
                <a:gd name="T9" fmla="*/ 8 h 588"/>
                <a:gd name="T10" fmla="*/ 197 w 244"/>
                <a:gd name="T11" fmla="*/ 8 h 588"/>
                <a:gd name="T12" fmla="*/ 196 w 244"/>
                <a:gd name="T13" fmla="*/ 489 h 588"/>
                <a:gd name="T14" fmla="*/ 69 w 244"/>
                <a:gd name="T15" fmla="*/ 399 h 588"/>
                <a:gd name="T16" fmla="*/ 196 w 244"/>
                <a:gd name="T17" fmla="*/ 315 h 588"/>
                <a:gd name="T18" fmla="*/ 196 w 244"/>
                <a:gd name="T19" fmla="*/ 48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588">
                  <a:moveTo>
                    <a:pt x="197" y="8"/>
                  </a:moveTo>
                  <a:cubicBezTo>
                    <a:pt x="197" y="272"/>
                    <a:pt x="197" y="272"/>
                    <a:pt x="197" y="272"/>
                  </a:cubicBezTo>
                  <a:cubicBezTo>
                    <a:pt x="197" y="272"/>
                    <a:pt x="28" y="222"/>
                    <a:pt x="16" y="404"/>
                  </a:cubicBezTo>
                  <a:cubicBezTo>
                    <a:pt x="16" y="404"/>
                    <a:pt x="0" y="588"/>
                    <a:pt x="244" y="521"/>
                  </a:cubicBezTo>
                  <a:cubicBezTo>
                    <a:pt x="244" y="8"/>
                    <a:pt x="244" y="8"/>
                    <a:pt x="244" y="8"/>
                  </a:cubicBezTo>
                  <a:cubicBezTo>
                    <a:pt x="244" y="8"/>
                    <a:pt x="218" y="0"/>
                    <a:pt x="197" y="8"/>
                  </a:cubicBezTo>
                  <a:close/>
                  <a:moveTo>
                    <a:pt x="196" y="489"/>
                  </a:moveTo>
                  <a:cubicBezTo>
                    <a:pt x="196" y="489"/>
                    <a:pt x="69" y="529"/>
                    <a:pt x="69" y="399"/>
                  </a:cubicBezTo>
                  <a:cubicBezTo>
                    <a:pt x="69" y="267"/>
                    <a:pt x="196" y="315"/>
                    <a:pt x="196" y="315"/>
                  </a:cubicBezTo>
                  <a:lnTo>
                    <a:pt x="196" y="4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17073"/>
                </a:solidFill>
                <a:effectLst/>
                <a:uLnTx/>
                <a:uFillTx/>
                <a:latin typeface="Segoe UI"/>
                <a:ea typeface="+mn-ea"/>
                <a:cs typeface="+mn-cs"/>
              </a:endParaRPr>
            </a:p>
          </p:txBody>
        </p:sp>
        <p:sp>
          <p:nvSpPr>
            <p:cNvPr id="15" name="Freeform 18"/>
            <p:cNvSpPr>
              <a:spLocks noEditPoints="1"/>
            </p:cNvSpPr>
            <p:nvPr userDrawn="1"/>
          </p:nvSpPr>
          <p:spPr bwMode="auto">
            <a:xfrm>
              <a:off x="4056063" y="481013"/>
              <a:ext cx="88900" cy="261938"/>
            </a:xfrm>
            <a:custGeom>
              <a:avLst/>
              <a:gdLst>
                <a:gd name="T0" fmla="*/ 5 w 61"/>
                <a:gd name="T1" fmla="*/ 57 h 178"/>
                <a:gd name="T2" fmla="*/ 6 w 61"/>
                <a:gd name="T3" fmla="*/ 57 h 178"/>
                <a:gd name="T4" fmla="*/ 30 w 61"/>
                <a:gd name="T5" fmla="*/ 60 h 178"/>
                <a:gd name="T6" fmla="*/ 55 w 61"/>
                <a:gd name="T7" fmla="*/ 57 h 178"/>
                <a:gd name="T8" fmla="*/ 56 w 61"/>
                <a:gd name="T9" fmla="*/ 57 h 178"/>
                <a:gd name="T10" fmla="*/ 61 w 61"/>
                <a:gd name="T11" fmla="*/ 30 h 178"/>
                <a:gd name="T12" fmla="*/ 58 w 61"/>
                <a:gd name="T13" fmla="*/ 5 h 178"/>
                <a:gd name="T14" fmla="*/ 57 w 61"/>
                <a:gd name="T15" fmla="*/ 5 h 178"/>
                <a:gd name="T16" fmla="*/ 56 w 61"/>
                <a:gd name="T17" fmla="*/ 4 h 178"/>
                <a:gd name="T18" fmla="*/ 55 w 61"/>
                <a:gd name="T19" fmla="*/ 4 h 178"/>
                <a:gd name="T20" fmla="*/ 31 w 61"/>
                <a:gd name="T21" fmla="*/ 0 h 178"/>
                <a:gd name="T22" fmla="*/ 6 w 61"/>
                <a:gd name="T23" fmla="*/ 4 h 178"/>
                <a:gd name="T24" fmla="*/ 5 w 61"/>
                <a:gd name="T25" fmla="*/ 4 h 178"/>
                <a:gd name="T26" fmla="*/ 0 w 61"/>
                <a:gd name="T27" fmla="*/ 30 h 178"/>
                <a:gd name="T28" fmla="*/ 5 w 61"/>
                <a:gd name="T29" fmla="*/ 57 h 178"/>
                <a:gd name="T30" fmla="*/ 57 w 61"/>
                <a:gd name="T31" fmla="*/ 123 h 178"/>
                <a:gd name="T32" fmla="*/ 56 w 61"/>
                <a:gd name="T33" fmla="*/ 122 h 178"/>
                <a:gd name="T34" fmla="*/ 55 w 61"/>
                <a:gd name="T35" fmla="*/ 121 h 178"/>
                <a:gd name="T36" fmla="*/ 31 w 61"/>
                <a:gd name="T37" fmla="*/ 118 h 178"/>
                <a:gd name="T38" fmla="*/ 6 w 61"/>
                <a:gd name="T39" fmla="*/ 121 h 178"/>
                <a:gd name="T40" fmla="*/ 5 w 61"/>
                <a:gd name="T41" fmla="*/ 122 h 178"/>
                <a:gd name="T42" fmla="*/ 0 w 61"/>
                <a:gd name="T43" fmla="*/ 148 h 178"/>
                <a:gd name="T44" fmla="*/ 5 w 61"/>
                <a:gd name="T45" fmla="*/ 174 h 178"/>
                <a:gd name="T46" fmla="*/ 6 w 61"/>
                <a:gd name="T47" fmla="*/ 175 h 178"/>
                <a:gd name="T48" fmla="*/ 30 w 61"/>
                <a:gd name="T49" fmla="*/ 178 h 178"/>
                <a:gd name="T50" fmla="*/ 55 w 61"/>
                <a:gd name="T51" fmla="*/ 175 h 178"/>
                <a:gd name="T52" fmla="*/ 56 w 61"/>
                <a:gd name="T53" fmla="*/ 175 h 178"/>
                <a:gd name="T54" fmla="*/ 61 w 61"/>
                <a:gd name="T55" fmla="*/ 148 h 178"/>
                <a:gd name="T56" fmla="*/ 58 w 61"/>
                <a:gd name="T57" fmla="*/ 123 h 178"/>
                <a:gd name="T58" fmla="*/ 57 w 61"/>
                <a:gd name="T59" fmla="*/ 12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 h="178">
                  <a:moveTo>
                    <a:pt x="5" y="57"/>
                  </a:moveTo>
                  <a:cubicBezTo>
                    <a:pt x="5" y="57"/>
                    <a:pt x="6" y="57"/>
                    <a:pt x="6" y="57"/>
                  </a:cubicBezTo>
                  <a:cubicBezTo>
                    <a:pt x="10" y="59"/>
                    <a:pt x="20" y="60"/>
                    <a:pt x="30" y="60"/>
                  </a:cubicBezTo>
                  <a:cubicBezTo>
                    <a:pt x="41" y="60"/>
                    <a:pt x="50" y="59"/>
                    <a:pt x="55" y="57"/>
                  </a:cubicBezTo>
                  <a:cubicBezTo>
                    <a:pt x="55" y="57"/>
                    <a:pt x="56" y="57"/>
                    <a:pt x="56" y="57"/>
                  </a:cubicBezTo>
                  <a:cubicBezTo>
                    <a:pt x="59" y="56"/>
                    <a:pt x="61" y="45"/>
                    <a:pt x="61" y="30"/>
                  </a:cubicBezTo>
                  <a:cubicBezTo>
                    <a:pt x="61" y="19"/>
                    <a:pt x="60" y="9"/>
                    <a:pt x="58" y="5"/>
                  </a:cubicBezTo>
                  <a:cubicBezTo>
                    <a:pt x="58" y="5"/>
                    <a:pt x="57" y="5"/>
                    <a:pt x="57" y="5"/>
                  </a:cubicBezTo>
                  <a:cubicBezTo>
                    <a:pt x="57" y="5"/>
                    <a:pt x="57" y="4"/>
                    <a:pt x="56" y="4"/>
                  </a:cubicBezTo>
                  <a:cubicBezTo>
                    <a:pt x="56" y="4"/>
                    <a:pt x="56" y="4"/>
                    <a:pt x="55" y="4"/>
                  </a:cubicBezTo>
                  <a:cubicBezTo>
                    <a:pt x="51" y="2"/>
                    <a:pt x="41" y="0"/>
                    <a:pt x="31" y="0"/>
                  </a:cubicBezTo>
                  <a:cubicBezTo>
                    <a:pt x="20" y="0"/>
                    <a:pt x="11" y="2"/>
                    <a:pt x="6" y="4"/>
                  </a:cubicBezTo>
                  <a:cubicBezTo>
                    <a:pt x="6" y="4"/>
                    <a:pt x="5" y="4"/>
                    <a:pt x="5" y="4"/>
                  </a:cubicBezTo>
                  <a:cubicBezTo>
                    <a:pt x="2" y="4"/>
                    <a:pt x="0" y="16"/>
                    <a:pt x="0" y="30"/>
                  </a:cubicBezTo>
                  <a:cubicBezTo>
                    <a:pt x="0" y="44"/>
                    <a:pt x="2" y="55"/>
                    <a:pt x="5" y="57"/>
                  </a:cubicBezTo>
                  <a:close/>
                  <a:moveTo>
                    <a:pt x="57" y="123"/>
                  </a:moveTo>
                  <a:cubicBezTo>
                    <a:pt x="57" y="122"/>
                    <a:pt x="57" y="122"/>
                    <a:pt x="56" y="122"/>
                  </a:cubicBezTo>
                  <a:cubicBezTo>
                    <a:pt x="56" y="122"/>
                    <a:pt x="56" y="122"/>
                    <a:pt x="55" y="121"/>
                  </a:cubicBezTo>
                  <a:cubicBezTo>
                    <a:pt x="51" y="120"/>
                    <a:pt x="41" y="118"/>
                    <a:pt x="31" y="118"/>
                  </a:cubicBezTo>
                  <a:cubicBezTo>
                    <a:pt x="20" y="118"/>
                    <a:pt x="11" y="120"/>
                    <a:pt x="6" y="121"/>
                  </a:cubicBezTo>
                  <a:cubicBezTo>
                    <a:pt x="6" y="121"/>
                    <a:pt x="5" y="122"/>
                    <a:pt x="5" y="122"/>
                  </a:cubicBezTo>
                  <a:cubicBezTo>
                    <a:pt x="2" y="122"/>
                    <a:pt x="0" y="134"/>
                    <a:pt x="0" y="148"/>
                  </a:cubicBezTo>
                  <a:cubicBezTo>
                    <a:pt x="0" y="162"/>
                    <a:pt x="2" y="173"/>
                    <a:pt x="5" y="174"/>
                  </a:cubicBezTo>
                  <a:cubicBezTo>
                    <a:pt x="5" y="175"/>
                    <a:pt x="6" y="175"/>
                    <a:pt x="6" y="175"/>
                  </a:cubicBezTo>
                  <a:cubicBezTo>
                    <a:pt x="10" y="177"/>
                    <a:pt x="20" y="178"/>
                    <a:pt x="30" y="178"/>
                  </a:cubicBezTo>
                  <a:cubicBezTo>
                    <a:pt x="41" y="178"/>
                    <a:pt x="50" y="177"/>
                    <a:pt x="55" y="175"/>
                  </a:cubicBezTo>
                  <a:cubicBezTo>
                    <a:pt x="55" y="175"/>
                    <a:pt x="56" y="175"/>
                    <a:pt x="56" y="175"/>
                  </a:cubicBezTo>
                  <a:cubicBezTo>
                    <a:pt x="59" y="174"/>
                    <a:pt x="61" y="163"/>
                    <a:pt x="61" y="148"/>
                  </a:cubicBezTo>
                  <a:cubicBezTo>
                    <a:pt x="61" y="137"/>
                    <a:pt x="60" y="127"/>
                    <a:pt x="58" y="123"/>
                  </a:cubicBezTo>
                  <a:cubicBezTo>
                    <a:pt x="58" y="123"/>
                    <a:pt x="57" y="123"/>
                    <a:pt x="57"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17073"/>
                </a:solidFill>
                <a:effectLst/>
                <a:uLnTx/>
                <a:uFillTx/>
                <a:latin typeface="Segoe UI"/>
                <a:ea typeface="+mn-ea"/>
                <a:cs typeface="+mn-cs"/>
              </a:endParaRPr>
            </a:p>
          </p:txBody>
        </p:sp>
      </p:grpSp>
    </p:spTree>
    <p:extLst>
      <p:ext uri="{BB962C8B-B14F-4D97-AF65-F5344CB8AC3E}">
        <p14:creationId xmlns:p14="http://schemas.microsoft.com/office/powerpoint/2010/main" val="203668492"/>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Lst>
  <p:transition spd="slow">
    <p:fade/>
  </p:transition>
  <p:hf hdr="0" ftr="0" dt="0"/>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20"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1557" y="1558"/>
                        <a:ext cx="1556" cy="1556"/>
                      </a:xfrm>
                      <a:prstGeom prst="rect">
                        <a:avLst/>
                      </a:prstGeom>
                    </p:spPr>
                  </p:pic>
                </p:oleObj>
              </mc:Fallback>
            </mc:AlternateContent>
          </a:graphicData>
        </a:graphic>
      </p:graphicFrame>
      <p:grpSp>
        <p:nvGrpSpPr>
          <p:cNvPr id="8" name="Group 7"/>
          <p:cNvGrpSpPr/>
          <p:nvPr userDrawn="1"/>
        </p:nvGrpSpPr>
        <p:grpSpPr>
          <a:xfrm>
            <a:off x="11213307" y="6411402"/>
            <a:ext cx="738448" cy="254250"/>
            <a:chOff x="1636713" y="-1588"/>
            <a:chExt cx="2508250" cy="863600"/>
          </a:xfrm>
          <a:solidFill>
            <a:schemeClr val="tx1"/>
          </a:solidFill>
        </p:grpSpPr>
        <p:sp>
          <p:nvSpPr>
            <p:cNvPr id="9" name="Freeform 11"/>
            <p:cNvSpPr>
              <a:spLocks/>
            </p:cNvSpPr>
            <p:nvPr userDrawn="1"/>
          </p:nvSpPr>
          <p:spPr bwMode="auto">
            <a:xfrm>
              <a:off x="1636713" y="234950"/>
              <a:ext cx="428625" cy="542925"/>
            </a:xfrm>
            <a:custGeom>
              <a:avLst/>
              <a:gdLst>
                <a:gd name="T0" fmla="*/ 292 w 292"/>
                <a:gd name="T1" fmla="*/ 6 h 370"/>
                <a:gd name="T2" fmla="*/ 238 w 292"/>
                <a:gd name="T3" fmla="*/ 6 h 370"/>
                <a:gd name="T4" fmla="*/ 146 w 292"/>
                <a:gd name="T5" fmla="*/ 315 h 370"/>
                <a:gd name="T6" fmla="*/ 54 w 292"/>
                <a:gd name="T7" fmla="*/ 6 h 370"/>
                <a:gd name="T8" fmla="*/ 0 w 292"/>
                <a:gd name="T9" fmla="*/ 6 h 370"/>
                <a:gd name="T10" fmla="*/ 115 w 292"/>
                <a:gd name="T11" fmla="*/ 367 h 370"/>
                <a:gd name="T12" fmla="*/ 143 w 292"/>
                <a:gd name="T13" fmla="*/ 370 h 370"/>
                <a:gd name="T14" fmla="*/ 143 w 292"/>
                <a:gd name="T15" fmla="*/ 370 h 370"/>
                <a:gd name="T16" fmla="*/ 146 w 292"/>
                <a:gd name="T17" fmla="*/ 370 h 370"/>
                <a:gd name="T18" fmla="*/ 149 w 292"/>
                <a:gd name="T19" fmla="*/ 370 h 370"/>
                <a:gd name="T20" fmla="*/ 149 w 292"/>
                <a:gd name="T21" fmla="*/ 370 h 370"/>
                <a:gd name="T22" fmla="*/ 176 w 292"/>
                <a:gd name="T23" fmla="*/ 367 h 370"/>
                <a:gd name="T24" fmla="*/ 292 w 292"/>
                <a:gd name="T25" fmla="*/ 6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2" h="370">
                  <a:moveTo>
                    <a:pt x="292" y="6"/>
                  </a:moveTo>
                  <a:cubicBezTo>
                    <a:pt x="266" y="0"/>
                    <a:pt x="238" y="6"/>
                    <a:pt x="238" y="6"/>
                  </a:cubicBezTo>
                  <a:cubicBezTo>
                    <a:pt x="146" y="315"/>
                    <a:pt x="146" y="315"/>
                    <a:pt x="146" y="315"/>
                  </a:cubicBezTo>
                  <a:cubicBezTo>
                    <a:pt x="54" y="6"/>
                    <a:pt x="54" y="6"/>
                    <a:pt x="54" y="6"/>
                  </a:cubicBezTo>
                  <a:cubicBezTo>
                    <a:pt x="54" y="6"/>
                    <a:pt x="25" y="0"/>
                    <a:pt x="0" y="6"/>
                  </a:cubicBezTo>
                  <a:cubicBezTo>
                    <a:pt x="115" y="367"/>
                    <a:pt x="115" y="367"/>
                    <a:pt x="115" y="367"/>
                  </a:cubicBezTo>
                  <a:cubicBezTo>
                    <a:pt x="115" y="367"/>
                    <a:pt x="124" y="370"/>
                    <a:pt x="143" y="370"/>
                  </a:cubicBezTo>
                  <a:cubicBezTo>
                    <a:pt x="143" y="370"/>
                    <a:pt x="143" y="370"/>
                    <a:pt x="143" y="370"/>
                  </a:cubicBezTo>
                  <a:cubicBezTo>
                    <a:pt x="144" y="370"/>
                    <a:pt x="145" y="370"/>
                    <a:pt x="146" y="370"/>
                  </a:cubicBezTo>
                  <a:cubicBezTo>
                    <a:pt x="147" y="370"/>
                    <a:pt x="148" y="370"/>
                    <a:pt x="149" y="370"/>
                  </a:cubicBezTo>
                  <a:cubicBezTo>
                    <a:pt x="149" y="370"/>
                    <a:pt x="149" y="370"/>
                    <a:pt x="149" y="370"/>
                  </a:cubicBezTo>
                  <a:cubicBezTo>
                    <a:pt x="167" y="370"/>
                    <a:pt x="176" y="367"/>
                    <a:pt x="176" y="367"/>
                  </a:cubicBezTo>
                  <a:lnTo>
                    <a:pt x="292"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 name="Freeform 12"/>
            <p:cNvSpPr>
              <a:spLocks noEditPoints="1"/>
            </p:cNvSpPr>
            <p:nvPr userDrawn="1"/>
          </p:nvSpPr>
          <p:spPr bwMode="auto">
            <a:xfrm>
              <a:off x="2046288" y="385763"/>
              <a:ext cx="382588" cy="471488"/>
            </a:xfrm>
            <a:custGeom>
              <a:avLst/>
              <a:gdLst>
                <a:gd name="T0" fmla="*/ 239 w 260"/>
                <a:gd name="T1" fmla="*/ 147 h 321"/>
                <a:gd name="T2" fmla="*/ 130 w 260"/>
                <a:gd name="T3" fmla="*/ 0 h 321"/>
                <a:gd name="T4" fmla="*/ 12 w 260"/>
                <a:gd name="T5" fmla="*/ 152 h 321"/>
                <a:gd name="T6" fmla="*/ 223 w 260"/>
                <a:gd name="T7" fmla="*/ 256 h 321"/>
                <a:gd name="T8" fmla="*/ 215 w 260"/>
                <a:gd name="T9" fmla="*/ 217 h 321"/>
                <a:gd name="T10" fmla="*/ 61 w 260"/>
                <a:gd name="T11" fmla="*/ 147 h 321"/>
                <a:gd name="T12" fmla="*/ 239 w 260"/>
                <a:gd name="T13" fmla="*/ 147 h 321"/>
                <a:gd name="T14" fmla="*/ 129 w 260"/>
                <a:gd name="T15" fmla="*/ 39 h 321"/>
                <a:gd name="T16" fmla="*/ 189 w 260"/>
                <a:gd name="T17" fmla="*/ 109 h 321"/>
                <a:gd name="T18" fmla="*/ 63 w 260"/>
                <a:gd name="T19" fmla="*/ 109 h 321"/>
                <a:gd name="T20" fmla="*/ 129 w 260"/>
                <a:gd name="T21" fmla="*/ 39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0" h="321">
                  <a:moveTo>
                    <a:pt x="239" y="147"/>
                  </a:moveTo>
                  <a:cubicBezTo>
                    <a:pt x="239" y="147"/>
                    <a:pt x="260" y="0"/>
                    <a:pt x="130" y="0"/>
                  </a:cubicBezTo>
                  <a:cubicBezTo>
                    <a:pt x="0" y="0"/>
                    <a:pt x="12" y="152"/>
                    <a:pt x="12" y="152"/>
                  </a:cubicBezTo>
                  <a:cubicBezTo>
                    <a:pt x="12" y="152"/>
                    <a:pt x="19" y="321"/>
                    <a:pt x="223" y="256"/>
                  </a:cubicBezTo>
                  <a:cubicBezTo>
                    <a:pt x="223" y="256"/>
                    <a:pt x="223" y="240"/>
                    <a:pt x="215" y="217"/>
                  </a:cubicBezTo>
                  <a:cubicBezTo>
                    <a:pt x="54" y="268"/>
                    <a:pt x="61" y="147"/>
                    <a:pt x="61" y="147"/>
                  </a:cubicBezTo>
                  <a:lnTo>
                    <a:pt x="239" y="147"/>
                  </a:lnTo>
                  <a:close/>
                  <a:moveTo>
                    <a:pt x="129" y="39"/>
                  </a:moveTo>
                  <a:cubicBezTo>
                    <a:pt x="193" y="39"/>
                    <a:pt x="189" y="109"/>
                    <a:pt x="189" y="109"/>
                  </a:cubicBezTo>
                  <a:cubicBezTo>
                    <a:pt x="63" y="109"/>
                    <a:pt x="63" y="109"/>
                    <a:pt x="63" y="109"/>
                  </a:cubicBezTo>
                  <a:cubicBezTo>
                    <a:pt x="63" y="109"/>
                    <a:pt x="66" y="39"/>
                    <a:pt x="129"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 name="Freeform 13"/>
            <p:cNvSpPr>
              <a:spLocks/>
            </p:cNvSpPr>
            <p:nvPr userDrawn="1"/>
          </p:nvSpPr>
          <p:spPr bwMode="auto">
            <a:xfrm>
              <a:off x="2463800" y="1588"/>
              <a:ext cx="158750" cy="804863"/>
            </a:xfrm>
            <a:custGeom>
              <a:avLst/>
              <a:gdLst>
                <a:gd name="T0" fmla="*/ 0 w 108"/>
                <a:gd name="T1" fmla="*/ 7 h 549"/>
                <a:gd name="T2" fmla="*/ 0 w 108"/>
                <a:gd name="T3" fmla="*/ 471 h 549"/>
                <a:gd name="T4" fmla="*/ 106 w 108"/>
                <a:gd name="T5" fmla="*/ 526 h 549"/>
                <a:gd name="T6" fmla="*/ 101 w 108"/>
                <a:gd name="T7" fmla="*/ 487 h 549"/>
                <a:gd name="T8" fmla="*/ 50 w 108"/>
                <a:gd name="T9" fmla="*/ 453 h 549"/>
                <a:gd name="T10" fmla="*/ 50 w 108"/>
                <a:gd name="T11" fmla="*/ 7 h 549"/>
                <a:gd name="T12" fmla="*/ 25 w 108"/>
                <a:gd name="T13" fmla="*/ 0 h 549"/>
                <a:gd name="T14" fmla="*/ 0 w 108"/>
                <a:gd name="T15" fmla="*/ 7 h 5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549">
                  <a:moveTo>
                    <a:pt x="0" y="7"/>
                  </a:moveTo>
                  <a:cubicBezTo>
                    <a:pt x="0" y="471"/>
                    <a:pt x="0" y="471"/>
                    <a:pt x="0" y="471"/>
                  </a:cubicBezTo>
                  <a:cubicBezTo>
                    <a:pt x="0" y="471"/>
                    <a:pt x="1" y="549"/>
                    <a:pt x="106" y="526"/>
                  </a:cubicBezTo>
                  <a:cubicBezTo>
                    <a:pt x="106" y="526"/>
                    <a:pt x="108" y="510"/>
                    <a:pt x="101" y="487"/>
                  </a:cubicBezTo>
                  <a:cubicBezTo>
                    <a:pt x="101" y="487"/>
                    <a:pt x="50" y="505"/>
                    <a:pt x="50" y="453"/>
                  </a:cubicBezTo>
                  <a:cubicBezTo>
                    <a:pt x="50" y="7"/>
                    <a:pt x="50" y="7"/>
                    <a:pt x="50" y="7"/>
                  </a:cubicBezTo>
                  <a:cubicBezTo>
                    <a:pt x="50" y="7"/>
                    <a:pt x="47" y="0"/>
                    <a:pt x="25" y="0"/>
                  </a:cubicBezTo>
                  <a:cubicBezTo>
                    <a:pt x="2" y="0"/>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 name="Freeform 14"/>
            <p:cNvSpPr>
              <a:spLocks/>
            </p:cNvSpPr>
            <p:nvPr userDrawn="1"/>
          </p:nvSpPr>
          <p:spPr bwMode="auto">
            <a:xfrm>
              <a:off x="2667000" y="385763"/>
              <a:ext cx="204788" cy="392113"/>
            </a:xfrm>
            <a:custGeom>
              <a:avLst/>
              <a:gdLst>
                <a:gd name="T0" fmla="*/ 0 w 139"/>
                <a:gd name="T1" fmla="*/ 9 h 267"/>
                <a:gd name="T2" fmla="*/ 0 w 139"/>
                <a:gd name="T3" fmla="*/ 263 h 267"/>
                <a:gd name="T4" fmla="*/ 28 w 139"/>
                <a:gd name="T5" fmla="*/ 267 h 267"/>
                <a:gd name="T6" fmla="*/ 50 w 139"/>
                <a:gd name="T7" fmla="*/ 262 h 267"/>
                <a:gd name="T8" fmla="*/ 50 w 139"/>
                <a:gd name="T9" fmla="*/ 113 h 267"/>
                <a:gd name="T10" fmla="*/ 131 w 139"/>
                <a:gd name="T11" fmla="*/ 50 h 267"/>
                <a:gd name="T12" fmla="*/ 131 w 139"/>
                <a:gd name="T13" fmla="*/ 3 h 267"/>
                <a:gd name="T14" fmla="*/ 44 w 139"/>
                <a:gd name="T15" fmla="*/ 49 h 267"/>
                <a:gd name="T16" fmla="*/ 40 w 139"/>
                <a:gd name="T17" fmla="*/ 7 h 267"/>
                <a:gd name="T18" fmla="*/ 0 w 139"/>
                <a:gd name="T19" fmla="*/ 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 h="267">
                  <a:moveTo>
                    <a:pt x="0" y="9"/>
                  </a:moveTo>
                  <a:cubicBezTo>
                    <a:pt x="0" y="263"/>
                    <a:pt x="0" y="263"/>
                    <a:pt x="0" y="263"/>
                  </a:cubicBezTo>
                  <a:cubicBezTo>
                    <a:pt x="0" y="263"/>
                    <a:pt x="6" y="267"/>
                    <a:pt x="28" y="267"/>
                  </a:cubicBezTo>
                  <a:cubicBezTo>
                    <a:pt x="49" y="267"/>
                    <a:pt x="50" y="262"/>
                    <a:pt x="50" y="262"/>
                  </a:cubicBezTo>
                  <a:cubicBezTo>
                    <a:pt x="50" y="113"/>
                    <a:pt x="50" y="113"/>
                    <a:pt x="50" y="113"/>
                  </a:cubicBezTo>
                  <a:cubicBezTo>
                    <a:pt x="50" y="113"/>
                    <a:pt x="50" y="40"/>
                    <a:pt x="131" y="50"/>
                  </a:cubicBezTo>
                  <a:cubicBezTo>
                    <a:pt x="131" y="50"/>
                    <a:pt x="139" y="37"/>
                    <a:pt x="131" y="3"/>
                  </a:cubicBezTo>
                  <a:cubicBezTo>
                    <a:pt x="131" y="3"/>
                    <a:pt x="63" y="4"/>
                    <a:pt x="44" y="49"/>
                  </a:cubicBezTo>
                  <a:cubicBezTo>
                    <a:pt x="44" y="49"/>
                    <a:pt x="44" y="19"/>
                    <a:pt x="40" y="7"/>
                  </a:cubicBezTo>
                  <a:cubicBezTo>
                    <a:pt x="40" y="7"/>
                    <a:pt x="12" y="0"/>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 name="Freeform 15"/>
            <p:cNvSpPr>
              <a:spLocks noEditPoints="1"/>
            </p:cNvSpPr>
            <p:nvPr userDrawn="1"/>
          </p:nvSpPr>
          <p:spPr bwMode="auto">
            <a:xfrm>
              <a:off x="2860675" y="325438"/>
              <a:ext cx="336550" cy="512763"/>
            </a:xfrm>
            <a:custGeom>
              <a:avLst/>
              <a:gdLst>
                <a:gd name="T0" fmla="*/ 40 w 229"/>
                <a:gd name="T1" fmla="*/ 52 h 349"/>
                <a:gd name="T2" fmla="*/ 52 w 229"/>
                <a:gd name="T3" fmla="*/ 90 h 349"/>
                <a:gd name="T4" fmla="*/ 170 w 229"/>
                <a:gd name="T5" fmla="*/ 144 h 349"/>
                <a:gd name="T6" fmla="*/ 18 w 229"/>
                <a:gd name="T7" fmla="*/ 226 h 349"/>
                <a:gd name="T8" fmla="*/ 220 w 229"/>
                <a:gd name="T9" fmla="*/ 298 h 349"/>
                <a:gd name="T10" fmla="*/ 220 w 229"/>
                <a:gd name="T11" fmla="*/ 134 h 349"/>
                <a:gd name="T12" fmla="*/ 40 w 229"/>
                <a:gd name="T13" fmla="*/ 52 h 349"/>
                <a:gd name="T14" fmla="*/ 172 w 229"/>
                <a:gd name="T15" fmla="*/ 264 h 349"/>
                <a:gd name="T16" fmla="*/ 69 w 229"/>
                <a:gd name="T17" fmla="*/ 224 h 349"/>
                <a:gd name="T18" fmla="*/ 172 w 229"/>
                <a:gd name="T19" fmla="*/ 184 h 349"/>
                <a:gd name="T20" fmla="*/ 172 w 229"/>
                <a:gd name="T21" fmla="*/ 264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49">
                  <a:moveTo>
                    <a:pt x="40" y="52"/>
                  </a:moveTo>
                  <a:cubicBezTo>
                    <a:pt x="40" y="52"/>
                    <a:pt x="41" y="82"/>
                    <a:pt x="52" y="90"/>
                  </a:cubicBezTo>
                  <a:cubicBezTo>
                    <a:pt x="52" y="90"/>
                    <a:pt x="180" y="49"/>
                    <a:pt x="170" y="144"/>
                  </a:cubicBezTo>
                  <a:cubicBezTo>
                    <a:pt x="170" y="144"/>
                    <a:pt x="24" y="123"/>
                    <a:pt x="18" y="226"/>
                  </a:cubicBezTo>
                  <a:cubicBezTo>
                    <a:pt x="18" y="226"/>
                    <a:pt x="0" y="349"/>
                    <a:pt x="220" y="298"/>
                  </a:cubicBezTo>
                  <a:cubicBezTo>
                    <a:pt x="220" y="134"/>
                    <a:pt x="220" y="134"/>
                    <a:pt x="220" y="134"/>
                  </a:cubicBezTo>
                  <a:cubicBezTo>
                    <a:pt x="220" y="134"/>
                    <a:pt x="229" y="0"/>
                    <a:pt x="40" y="52"/>
                  </a:cubicBezTo>
                  <a:close/>
                  <a:moveTo>
                    <a:pt x="172" y="264"/>
                  </a:moveTo>
                  <a:cubicBezTo>
                    <a:pt x="172" y="264"/>
                    <a:pt x="66" y="299"/>
                    <a:pt x="69" y="224"/>
                  </a:cubicBezTo>
                  <a:cubicBezTo>
                    <a:pt x="69" y="162"/>
                    <a:pt x="172" y="184"/>
                    <a:pt x="172" y="184"/>
                  </a:cubicBezTo>
                  <a:lnTo>
                    <a:pt x="172"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 name="Freeform 16"/>
            <p:cNvSpPr>
              <a:spLocks noEditPoints="1"/>
            </p:cNvSpPr>
            <p:nvPr userDrawn="1"/>
          </p:nvSpPr>
          <p:spPr bwMode="auto">
            <a:xfrm>
              <a:off x="3617913" y="325438"/>
              <a:ext cx="336550" cy="512763"/>
            </a:xfrm>
            <a:custGeom>
              <a:avLst/>
              <a:gdLst>
                <a:gd name="T0" fmla="*/ 40 w 229"/>
                <a:gd name="T1" fmla="*/ 52 h 349"/>
                <a:gd name="T2" fmla="*/ 52 w 229"/>
                <a:gd name="T3" fmla="*/ 90 h 349"/>
                <a:gd name="T4" fmla="*/ 170 w 229"/>
                <a:gd name="T5" fmla="*/ 144 h 349"/>
                <a:gd name="T6" fmla="*/ 18 w 229"/>
                <a:gd name="T7" fmla="*/ 226 h 349"/>
                <a:gd name="T8" fmla="*/ 220 w 229"/>
                <a:gd name="T9" fmla="*/ 298 h 349"/>
                <a:gd name="T10" fmla="*/ 220 w 229"/>
                <a:gd name="T11" fmla="*/ 134 h 349"/>
                <a:gd name="T12" fmla="*/ 40 w 229"/>
                <a:gd name="T13" fmla="*/ 52 h 349"/>
                <a:gd name="T14" fmla="*/ 172 w 229"/>
                <a:gd name="T15" fmla="*/ 264 h 349"/>
                <a:gd name="T16" fmla="*/ 69 w 229"/>
                <a:gd name="T17" fmla="*/ 224 h 349"/>
                <a:gd name="T18" fmla="*/ 172 w 229"/>
                <a:gd name="T19" fmla="*/ 184 h 349"/>
                <a:gd name="T20" fmla="*/ 172 w 229"/>
                <a:gd name="T21" fmla="*/ 264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49">
                  <a:moveTo>
                    <a:pt x="40" y="52"/>
                  </a:moveTo>
                  <a:cubicBezTo>
                    <a:pt x="40" y="52"/>
                    <a:pt x="41" y="82"/>
                    <a:pt x="52" y="90"/>
                  </a:cubicBezTo>
                  <a:cubicBezTo>
                    <a:pt x="52" y="90"/>
                    <a:pt x="180" y="49"/>
                    <a:pt x="170" y="144"/>
                  </a:cubicBezTo>
                  <a:cubicBezTo>
                    <a:pt x="170" y="144"/>
                    <a:pt x="24" y="123"/>
                    <a:pt x="18" y="226"/>
                  </a:cubicBezTo>
                  <a:cubicBezTo>
                    <a:pt x="18" y="226"/>
                    <a:pt x="0" y="349"/>
                    <a:pt x="220" y="298"/>
                  </a:cubicBezTo>
                  <a:cubicBezTo>
                    <a:pt x="220" y="134"/>
                    <a:pt x="220" y="134"/>
                    <a:pt x="220" y="134"/>
                  </a:cubicBezTo>
                  <a:cubicBezTo>
                    <a:pt x="220" y="134"/>
                    <a:pt x="229" y="0"/>
                    <a:pt x="40" y="52"/>
                  </a:cubicBezTo>
                  <a:close/>
                  <a:moveTo>
                    <a:pt x="172" y="264"/>
                  </a:moveTo>
                  <a:cubicBezTo>
                    <a:pt x="172" y="264"/>
                    <a:pt x="66" y="299"/>
                    <a:pt x="69" y="224"/>
                  </a:cubicBezTo>
                  <a:cubicBezTo>
                    <a:pt x="69" y="162"/>
                    <a:pt x="172" y="184"/>
                    <a:pt x="172" y="184"/>
                  </a:cubicBezTo>
                  <a:lnTo>
                    <a:pt x="172"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 name="Freeform 17"/>
            <p:cNvSpPr>
              <a:spLocks noEditPoints="1"/>
            </p:cNvSpPr>
            <p:nvPr userDrawn="1"/>
          </p:nvSpPr>
          <p:spPr bwMode="auto">
            <a:xfrm>
              <a:off x="3224213" y="-1588"/>
              <a:ext cx="357188" cy="863600"/>
            </a:xfrm>
            <a:custGeom>
              <a:avLst/>
              <a:gdLst>
                <a:gd name="T0" fmla="*/ 197 w 244"/>
                <a:gd name="T1" fmla="*/ 8 h 588"/>
                <a:gd name="T2" fmla="*/ 197 w 244"/>
                <a:gd name="T3" fmla="*/ 272 h 588"/>
                <a:gd name="T4" fmla="*/ 16 w 244"/>
                <a:gd name="T5" fmla="*/ 404 h 588"/>
                <a:gd name="T6" fmla="*/ 244 w 244"/>
                <a:gd name="T7" fmla="*/ 521 h 588"/>
                <a:gd name="T8" fmla="*/ 244 w 244"/>
                <a:gd name="T9" fmla="*/ 8 h 588"/>
                <a:gd name="T10" fmla="*/ 197 w 244"/>
                <a:gd name="T11" fmla="*/ 8 h 588"/>
                <a:gd name="T12" fmla="*/ 196 w 244"/>
                <a:gd name="T13" fmla="*/ 489 h 588"/>
                <a:gd name="T14" fmla="*/ 69 w 244"/>
                <a:gd name="T15" fmla="*/ 399 h 588"/>
                <a:gd name="T16" fmla="*/ 196 w 244"/>
                <a:gd name="T17" fmla="*/ 315 h 588"/>
                <a:gd name="T18" fmla="*/ 196 w 244"/>
                <a:gd name="T19" fmla="*/ 48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588">
                  <a:moveTo>
                    <a:pt x="197" y="8"/>
                  </a:moveTo>
                  <a:cubicBezTo>
                    <a:pt x="197" y="272"/>
                    <a:pt x="197" y="272"/>
                    <a:pt x="197" y="272"/>
                  </a:cubicBezTo>
                  <a:cubicBezTo>
                    <a:pt x="197" y="272"/>
                    <a:pt x="28" y="222"/>
                    <a:pt x="16" y="404"/>
                  </a:cubicBezTo>
                  <a:cubicBezTo>
                    <a:pt x="16" y="404"/>
                    <a:pt x="0" y="588"/>
                    <a:pt x="244" y="521"/>
                  </a:cubicBezTo>
                  <a:cubicBezTo>
                    <a:pt x="244" y="8"/>
                    <a:pt x="244" y="8"/>
                    <a:pt x="244" y="8"/>
                  </a:cubicBezTo>
                  <a:cubicBezTo>
                    <a:pt x="244" y="8"/>
                    <a:pt x="218" y="0"/>
                    <a:pt x="197" y="8"/>
                  </a:cubicBezTo>
                  <a:close/>
                  <a:moveTo>
                    <a:pt x="196" y="489"/>
                  </a:moveTo>
                  <a:cubicBezTo>
                    <a:pt x="196" y="489"/>
                    <a:pt x="69" y="529"/>
                    <a:pt x="69" y="399"/>
                  </a:cubicBezTo>
                  <a:cubicBezTo>
                    <a:pt x="69" y="267"/>
                    <a:pt x="196" y="315"/>
                    <a:pt x="196" y="315"/>
                  </a:cubicBezTo>
                  <a:lnTo>
                    <a:pt x="196" y="4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 name="Freeform 18"/>
            <p:cNvSpPr>
              <a:spLocks noEditPoints="1"/>
            </p:cNvSpPr>
            <p:nvPr userDrawn="1"/>
          </p:nvSpPr>
          <p:spPr bwMode="auto">
            <a:xfrm>
              <a:off x="4056063" y="481013"/>
              <a:ext cx="88900" cy="261938"/>
            </a:xfrm>
            <a:custGeom>
              <a:avLst/>
              <a:gdLst>
                <a:gd name="T0" fmla="*/ 5 w 61"/>
                <a:gd name="T1" fmla="*/ 57 h 178"/>
                <a:gd name="T2" fmla="*/ 6 w 61"/>
                <a:gd name="T3" fmla="*/ 57 h 178"/>
                <a:gd name="T4" fmla="*/ 30 w 61"/>
                <a:gd name="T5" fmla="*/ 60 h 178"/>
                <a:gd name="T6" fmla="*/ 55 w 61"/>
                <a:gd name="T7" fmla="*/ 57 h 178"/>
                <a:gd name="T8" fmla="*/ 56 w 61"/>
                <a:gd name="T9" fmla="*/ 57 h 178"/>
                <a:gd name="T10" fmla="*/ 61 w 61"/>
                <a:gd name="T11" fmla="*/ 30 h 178"/>
                <a:gd name="T12" fmla="*/ 58 w 61"/>
                <a:gd name="T13" fmla="*/ 5 h 178"/>
                <a:gd name="T14" fmla="*/ 57 w 61"/>
                <a:gd name="T15" fmla="*/ 5 h 178"/>
                <a:gd name="T16" fmla="*/ 56 w 61"/>
                <a:gd name="T17" fmla="*/ 4 h 178"/>
                <a:gd name="T18" fmla="*/ 55 w 61"/>
                <a:gd name="T19" fmla="*/ 4 h 178"/>
                <a:gd name="T20" fmla="*/ 31 w 61"/>
                <a:gd name="T21" fmla="*/ 0 h 178"/>
                <a:gd name="T22" fmla="*/ 6 w 61"/>
                <a:gd name="T23" fmla="*/ 4 h 178"/>
                <a:gd name="T24" fmla="*/ 5 w 61"/>
                <a:gd name="T25" fmla="*/ 4 h 178"/>
                <a:gd name="T26" fmla="*/ 0 w 61"/>
                <a:gd name="T27" fmla="*/ 30 h 178"/>
                <a:gd name="T28" fmla="*/ 5 w 61"/>
                <a:gd name="T29" fmla="*/ 57 h 178"/>
                <a:gd name="T30" fmla="*/ 57 w 61"/>
                <a:gd name="T31" fmla="*/ 123 h 178"/>
                <a:gd name="T32" fmla="*/ 56 w 61"/>
                <a:gd name="T33" fmla="*/ 122 h 178"/>
                <a:gd name="T34" fmla="*/ 55 w 61"/>
                <a:gd name="T35" fmla="*/ 121 h 178"/>
                <a:gd name="T36" fmla="*/ 31 w 61"/>
                <a:gd name="T37" fmla="*/ 118 h 178"/>
                <a:gd name="T38" fmla="*/ 6 w 61"/>
                <a:gd name="T39" fmla="*/ 121 h 178"/>
                <a:gd name="T40" fmla="*/ 5 w 61"/>
                <a:gd name="T41" fmla="*/ 122 h 178"/>
                <a:gd name="T42" fmla="*/ 0 w 61"/>
                <a:gd name="T43" fmla="*/ 148 h 178"/>
                <a:gd name="T44" fmla="*/ 5 w 61"/>
                <a:gd name="T45" fmla="*/ 174 h 178"/>
                <a:gd name="T46" fmla="*/ 6 w 61"/>
                <a:gd name="T47" fmla="*/ 175 h 178"/>
                <a:gd name="T48" fmla="*/ 30 w 61"/>
                <a:gd name="T49" fmla="*/ 178 h 178"/>
                <a:gd name="T50" fmla="*/ 55 w 61"/>
                <a:gd name="T51" fmla="*/ 175 h 178"/>
                <a:gd name="T52" fmla="*/ 56 w 61"/>
                <a:gd name="T53" fmla="*/ 175 h 178"/>
                <a:gd name="T54" fmla="*/ 61 w 61"/>
                <a:gd name="T55" fmla="*/ 148 h 178"/>
                <a:gd name="T56" fmla="*/ 58 w 61"/>
                <a:gd name="T57" fmla="*/ 123 h 178"/>
                <a:gd name="T58" fmla="*/ 57 w 61"/>
                <a:gd name="T59" fmla="*/ 12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 h="178">
                  <a:moveTo>
                    <a:pt x="5" y="57"/>
                  </a:moveTo>
                  <a:cubicBezTo>
                    <a:pt x="5" y="57"/>
                    <a:pt x="6" y="57"/>
                    <a:pt x="6" y="57"/>
                  </a:cubicBezTo>
                  <a:cubicBezTo>
                    <a:pt x="10" y="59"/>
                    <a:pt x="20" y="60"/>
                    <a:pt x="30" y="60"/>
                  </a:cubicBezTo>
                  <a:cubicBezTo>
                    <a:pt x="41" y="60"/>
                    <a:pt x="50" y="59"/>
                    <a:pt x="55" y="57"/>
                  </a:cubicBezTo>
                  <a:cubicBezTo>
                    <a:pt x="55" y="57"/>
                    <a:pt x="56" y="57"/>
                    <a:pt x="56" y="57"/>
                  </a:cubicBezTo>
                  <a:cubicBezTo>
                    <a:pt x="59" y="56"/>
                    <a:pt x="61" y="45"/>
                    <a:pt x="61" y="30"/>
                  </a:cubicBezTo>
                  <a:cubicBezTo>
                    <a:pt x="61" y="19"/>
                    <a:pt x="60" y="9"/>
                    <a:pt x="58" y="5"/>
                  </a:cubicBezTo>
                  <a:cubicBezTo>
                    <a:pt x="58" y="5"/>
                    <a:pt x="57" y="5"/>
                    <a:pt x="57" y="5"/>
                  </a:cubicBezTo>
                  <a:cubicBezTo>
                    <a:pt x="57" y="5"/>
                    <a:pt x="57" y="4"/>
                    <a:pt x="56" y="4"/>
                  </a:cubicBezTo>
                  <a:cubicBezTo>
                    <a:pt x="56" y="4"/>
                    <a:pt x="56" y="4"/>
                    <a:pt x="55" y="4"/>
                  </a:cubicBezTo>
                  <a:cubicBezTo>
                    <a:pt x="51" y="2"/>
                    <a:pt x="41" y="0"/>
                    <a:pt x="31" y="0"/>
                  </a:cubicBezTo>
                  <a:cubicBezTo>
                    <a:pt x="20" y="0"/>
                    <a:pt x="11" y="2"/>
                    <a:pt x="6" y="4"/>
                  </a:cubicBezTo>
                  <a:cubicBezTo>
                    <a:pt x="6" y="4"/>
                    <a:pt x="5" y="4"/>
                    <a:pt x="5" y="4"/>
                  </a:cubicBezTo>
                  <a:cubicBezTo>
                    <a:pt x="2" y="4"/>
                    <a:pt x="0" y="16"/>
                    <a:pt x="0" y="30"/>
                  </a:cubicBezTo>
                  <a:cubicBezTo>
                    <a:pt x="0" y="44"/>
                    <a:pt x="2" y="55"/>
                    <a:pt x="5" y="57"/>
                  </a:cubicBezTo>
                  <a:close/>
                  <a:moveTo>
                    <a:pt x="57" y="123"/>
                  </a:moveTo>
                  <a:cubicBezTo>
                    <a:pt x="57" y="122"/>
                    <a:pt x="57" y="122"/>
                    <a:pt x="56" y="122"/>
                  </a:cubicBezTo>
                  <a:cubicBezTo>
                    <a:pt x="56" y="122"/>
                    <a:pt x="56" y="122"/>
                    <a:pt x="55" y="121"/>
                  </a:cubicBezTo>
                  <a:cubicBezTo>
                    <a:pt x="51" y="120"/>
                    <a:pt x="41" y="118"/>
                    <a:pt x="31" y="118"/>
                  </a:cubicBezTo>
                  <a:cubicBezTo>
                    <a:pt x="20" y="118"/>
                    <a:pt x="11" y="120"/>
                    <a:pt x="6" y="121"/>
                  </a:cubicBezTo>
                  <a:cubicBezTo>
                    <a:pt x="6" y="121"/>
                    <a:pt x="5" y="122"/>
                    <a:pt x="5" y="122"/>
                  </a:cubicBezTo>
                  <a:cubicBezTo>
                    <a:pt x="2" y="122"/>
                    <a:pt x="0" y="134"/>
                    <a:pt x="0" y="148"/>
                  </a:cubicBezTo>
                  <a:cubicBezTo>
                    <a:pt x="0" y="162"/>
                    <a:pt x="2" y="173"/>
                    <a:pt x="5" y="174"/>
                  </a:cubicBezTo>
                  <a:cubicBezTo>
                    <a:pt x="5" y="175"/>
                    <a:pt x="6" y="175"/>
                    <a:pt x="6" y="175"/>
                  </a:cubicBezTo>
                  <a:cubicBezTo>
                    <a:pt x="10" y="177"/>
                    <a:pt x="20" y="178"/>
                    <a:pt x="30" y="178"/>
                  </a:cubicBezTo>
                  <a:cubicBezTo>
                    <a:pt x="41" y="178"/>
                    <a:pt x="50" y="177"/>
                    <a:pt x="55" y="175"/>
                  </a:cubicBezTo>
                  <a:cubicBezTo>
                    <a:pt x="55" y="175"/>
                    <a:pt x="56" y="175"/>
                    <a:pt x="56" y="175"/>
                  </a:cubicBezTo>
                  <a:cubicBezTo>
                    <a:pt x="59" y="174"/>
                    <a:pt x="61" y="163"/>
                    <a:pt x="61" y="148"/>
                  </a:cubicBezTo>
                  <a:cubicBezTo>
                    <a:pt x="61" y="137"/>
                    <a:pt x="60" y="127"/>
                    <a:pt x="58" y="123"/>
                  </a:cubicBezTo>
                  <a:cubicBezTo>
                    <a:pt x="58" y="123"/>
                    <a:pt x="57" y="123"/>
                    <a:pt x="57"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1497348212"/>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Lst>
  <p:transition spd="slow">
    <p:fade/>
  </p:transition>
  <p:hf hdr="0" ftr="0" dt="0"/>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Rectangle 4"/>
          <p:cNvSpPr/>
          <p:nvPr userDrawn="1"/>
        </p:nvSpPr>
        <p:spPr bwMode="auto">
          <a:xfrm>
            <a:off x="272353" y="291071"/>
            <a:ext cx="6271860" cy="6275863"/>
          </a:xfrm>
          <a:prstGeom prst="rect">
            <a:avLst/>
          </a:prstGeom>
          <a:solidFill>
            <a:schemeClr val="bg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491"/>
          <p:cNvGrpSpPr>
            <a:grpSpLocks noChangeAspect="1"/>
          </p:cNvGrpSpPr>
          <p:nvPr userDrawn="1"/>
        </p:nvGrpSpPr>
        <p:grpSpPr bwMode="auto">
          <a:xfrm>
            <a:off x="466516" y="537072"/>
            <a:ext cx="1983111" cy="681114"/>
            <a:chOff x="1813" y="1356"/>
            <a:chExt cx="2140" cy="735"/>
          </a:xfrm>
          <a:solidFill>
            <a:schemeClr val="accent1"/>
          </a:solidFill>
        </p:grpSpPr>
        <p:sp>
          <p:nvSpPr>
            <p:cNvPr id="7" name="Freeform 492"/>
            <p:cNvSpPr>
              <a:spLocks/>
            </p:cNvSpPr>
            <p:nvPr userDrawn="1"/>
          </p:nvSpPr>
          <p:spPr bwMode="auto">
            <a:xfrm>
              <a:off x="1813" y="1557"/>
              <a:ext cx="366" cy="464"/>
            </a:xfrm>
            <a:custGeom>
              <a:avLst/>
              <a:gdLst>
                <a:gd name="T0" fmla="*/ 292 w 292"/>
                <a:gd name="T1" fmla="*/ 5 h 370"/>
                <a:gd name="T2" fmla="*/ 238 w 292"/>
                <a:gd name="T3" fmla="*/ 5 h 370"/>
                <a:gd name="T4" fmla="*/ 146 w 292"/>
                <a:gd name="T5" fmla="*/ 315 h 370"/>
                <a:gd name="T6" fmla="*/ 54 w 292"/>
                <a:gd name="T7" fmla="*/ 5 h 370"/>
                <a:gd name="T8" fmla="*/ 0 w 292"/>
                <a:gd name="T9" fmla="*/ 5 h 370"/>
                <a:gd name="T10" fmla="*/ 115 w 292"/>
                <a:gd name="T11" fmla="*/ 367 h 370"/>
                <a:gd name="T12" fmla="*/ 143 w 292"/>
                <a:gd name="T13" fmla="*/ 370 h 370"/>
                <a:gd name="T14" fmla="*/ 143 w 292"/>
                <a:gd name="T15" fmla="*/ 370 h 370"/>
                <a:gd name="T16" fmla="*/ 146 w 292"/>
                <a:gd name="T17" fmla="*/ 370 h 370"/>
                <a:gd name="T18" fmla="*/ 148 w 292"/>
                <a:gd name="T19" fmla="*/ 370 h 370"/>
                <a:gd name="T20" fmla="*/ 148 w 292"/>
                <a:gd name="T21" fmla="*/ 370 h 370"/>
                <a:gd name="T22" fmla="*/ 176 w 292"/>
                <a:gd name="T23" fmla="*/ 367 h 370"/>
                <a:gd name="T24" fmla="*/ 292 w 292"/>
                <a:gd name="T25" fmla="*/ 5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2" h="370">
                  <a:moveTo>
                    <a:pt x="292" y="5"/>
                  </a:moveTo>
                  <a:cubicBezTo>
                    <a:pt x="266" y="0"/>
                    <a:pt x="238" y="5"/>
                    <a:pt x="238" y="5"/>
                  </a:cubicBezTo>
                  <a:cubicBezTo>
                    <a:pt x="146" y="315"/>
                    <a:pt x="146" y="315"/>
                    <a:pt x="146" y="315"/>
                  </a:cubicBezTo>
                  <a:cubicBezTo>
                    <a:pt x="54" y="5"/>
                    <a:pt x="54" y="5"/>
                    <a:pt x="54" y="5"/>
                  </a:cubicBezTo>
                  <a:cubicBezTo>
                    <a:pt x="54" y="5"/>
                    <a:pt x="25" y="0"/>
                    <a:pt x="0" y="5"/>
                  </a:cubicBezTo>
                  <a:cubicBezTo>
                    <a:pt x="115" y="367"/>
                    <a:pt x="115" y="367"/>
                    <a:pt x="115" y="367"/>
                  </a:cubicBezTo>
                  <a:cubicBezTo>
                    <a:pt x="115" y="367"/>
                    <a:pt x="124" y="369"/>
                    <a:pt x="143" y="370"/>
                  </a:cubicBezTo>
                  <a:cubicBezTo>
                    <a:pt x="143" y="370"/>
                    <a:pt x="143" y="370"/>
                    <a:pt x="143" y="370"/>
                  </a:cubicBezTo>
                  <a:cubicBezTo>
                    <a:pt x="144" y="370"/>
                    <a:pt x="145" y="370"/>
                    <a:pt x="146" y="370"/>
                  </a:cubicBezTo>
                  <a:cubicBezTo>
                    <a:pt x="147" y="370"/>
                    <a:pt x="147" y="370"/>
                    <a:pt x="148" y="370"/>
                  </a:cubicBezTo>
                  <a:cubicBezTo>
                    <a:pt x="148" y="370"/>
                    <a:pt x="148" y="370"/>
                    <a:pt x="148" y="370"/>
                  </a:cubicBezTo>
                  <a:cubicBezTo>
                    <a:pt x="167" y="369"/>
                    <a:pt x="176" y="367"/>
                    <a:pt x="176" y="367"/>
                  </a:cubicBezTo>
                  <a:lnTo>
                    <a:pt x="29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 name="Freeform 493"/>
            <p:cNvSpPr>
              <a:spLocks noEditPoints="1"/>
            </p:cNvSpPr>
            <p:nvPr userDrawn="1"/>
          </p:nvSpPr>
          <p:spPr bwMode="auto">
            <a:xfrm>
              <a:off x="2163" y="1686"/>
              <a:ext cx="326" cy="402"/>
            </a:xfrm>
            <a:custGeom>
              <a:avLst/>
              <a:gdLst>
                <a:gd name="T0" fmla="*/ 238 w 260"/>
                <a:gd name="T1" fmla="*/ 147 h 321"/>
                <a:gd name="T2" fmla="*/ 130 w 260"/>
                <a:gd name="T3" fmla="*/ 0 h 321"/>
                <a:gd name="T4" fmla="*/ 12 w 260"/>
                <a:gd name="T5" fmla="*/ 152 h 321"/>
                <a:gd name="T6" fmla="*/ 223 w 260"/>
                <a:gd name="T7" fmla="*/ 256 h 321"/>
                <a:gd name="T8" fmla="*/ 215 w 260"/>
                <a:gd name="T9" fmla="*/ 216 h 321"/>
                <a:gd name="T10" fmla="*/ 61 w 260"/>
                <a:gd name="T11" fmla="*/ 147 h 321"/>
                <a:gd name="T12" fmla="*/ 238 w 260"/>
                <a:gd name="T13" fmla="*/ 147 h 321"/>
                <a:gd name="T14" fmla="*/ 129 w 260"/>
                <a:gd name="T15" fmla="*/ 39 h 321"/>
                <a:gd name="T16" fmla="*/ 189 w 260"/>
                <a:gd name="T17" fmla="*/ 108 h 321"/>
                <a:gd name="T18" fmla="*/ 62 w 260"/>
                <a:gd name="T19" fmla="*/ 108 h 321"/>
                <a:gd name="T20" fmla="*/ 129 w 260"/>
                <a:gd name="T21" fmla="*/ 39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0" h="321">
                  <a:moveTo>
                    <a:pt x="238" y="147"/>
                  </a:moveTo>
                  <a:cubicBezTo>
                    <a:pt x="238" y="147"/>
                    <a:pt x="260" y="0"/>
                    <a:pt x="130" y="0"/>
                  </a:cubicBezTo>
                  <a:cubicBezTo>
                    <a:pt x="0" y="0"/>
                    <a:pt x="12" y="152"/>
                    <a:pt x="12" y="152"/>
                  </a:cubicBezTo>
                  <a:cubicBezTo>
                    <a:pt x="12" y="152"/>
                    <a:pt x="19" y="321"/>
                    <a:pt x="223" y="256"/>
                  </a:cubicBezTo>
                  <a:cubicBezTo>
                    <a:pt x="223" y="256"/>
                    <a:pt x="222" y="240"/>
                    <a:pt x="215" y="216"/>
                  </a:cubicBezTo>
                  <a:cubicBezTo>
                    <a:pt x="54" y="268"/>
                    <a:pt x="61" y="147"/>
                    <a:pt x="61" y="147"/>
                  </a:cubicBezTo>
                  <a:lnTo>
                    <a:pt x="238" y="147"/>
                  </a:lnTo>
                  <a:close/>
                  <a:moveTo>
                    <a:pt x="129" y="39"/>
                  </a:moveTo>
                  <a:cubicBezTo>
                    <a:pt x="192" y="39"/>
                    <a:pt x="189" y="108"/>
                    <a:pt x="189" y="108"/>
                  </a:cubicBezTo>
                  <a:cubicBezTo>
                    <a:pt x="62" y="108"/>
                    <a:pt x="62" y="108"/>
                    <a:pt x="62" y="108"/>
                  </a:cubicBezTo>
                  <a:cubicBezTo>
                    <a:pt x="62" y="108"/>
                    <a:pt x="66" y="39"/>
                    <a:pt x="129"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 name="Freeform 494"/>
            <p:cNvSpPr>
              <a:spLocks/>
            </p:cNvSpPr>
            <p:nvPr userDrawn="1"/>
          </p:nvSpPr>
          <p:spPr bwMode="auto">
            <a:xfrm>
              <a:off x="2519" y="1358"/>
              <a:ext cx="135" cy="688"/>
            </a:xfrm>
            <a:custGeom>
              <a:avLst/>
              <a:gdLst>
                <a:gd name="T0" fmla="*/ 0 w 108"/>
                <a:gd name="T1" fmla="*/ 6 h 549"/>
                <a:gd name="T2" fmla="*/ 0 w 108"/>
                <a:gd name="T3" fmla="*/ 471 h 549"/>
                <a:gd name="T4" fmla="*/ 106 w 108"/>
                <a:gd name="T5" fmla="*/ 526 h 549"/>
                <a:gd name="T6" fmla="*/ 101 w 108"/>
                <a:gd name="T7" fmla="*/ 487 h 549"/>
                <a:gd name="T8" fmla="*/ 50 w 108"/>
                <a:gd name="T9" fmla="*/ 453 h 549"/>
                <a:gd name="T10" fmla="*/ 50 w 108"/>
                <a:gd name="T11" fmla="*/ 6 h 549"/>
                <a:gd name="T12" fmla="*/ 24 w 108"/>
                <a:gd name="T13" fmla="*/ 0 h 549"/>
                <a:gd name="T14" fmla="*/ 0 w 108"/>
                <a:gd name="T15" fmla="*/ 6 h 5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549">
                  <a:moveTo>
                    <a:pt x="0" y="6"/>
                  </a:moveTo>
                  <a:cubicBezTo>
                    <a:pt x="0" y="471"/>
                    <a:pt x="0" y="471"/>
                    <a:pt x="0" y="471"/>
                  </a:cubicBezTo>
                  <a:cubicBezTo>
                    <a:pt x="0" y="471"/>
                    <a:pt x="1" y="549"/>
                    <a:pt x="106" y="526"/>
                  </a:cubicBezTo>
                  <a:cubicBezTo>
                    <a:pt x="106" y="526"/>
                    <a:pt x="108" y="510"/>
                    <a:pt x="101" y="487"/>
                  </a:cubicBezTo>
                  <a:cubicBezTo>
                    <a:pt x="101" y="487"/>
                    <a:pt x="50" y="504"/>
                    <a:pt x="50" y="453"/>
                  </a:cubicBezTo>
                  <a:cubicBezTo>
                    <a:pt x="50" y="6"/>
                    <a:pt x="50" y="6"/>
                    <a:pt x="50" y="6"/>
                  </a:cubicBezTo>
                  <a:cubicBezTo>
                    <a:pt x="50" y="6"/>
                    <a:pt x="47" y="0"/>
                    <a:pt x="24" y="0"/>
                  </a:cubicBezTo>
                  <a:cubicBezTo>
                    <a:pt x="2" y="0"/>
                    <a:pt x="0" y="6"/>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 name="Freeform 495"/>
            <p:cNvSpPr>
              <a:spLocks/>
            </p:cNvSpPr>
            <p:nvPr userDrawn="1"/>
          </p:nvSpPr>
          <p:spPr bwMode="auto">
            <a:xfrm>
              <a:off x="2693" y="1686"/>
              <a:ext cx="174" cy="335"/>
            </a:xfrm>
            <a:custGeom>
              <a:avLst/>
              <a:gdLst>
                <a:gd name="T0" fmla="*/ 0 w 139"/>
                <a:gd name="T1" fmla="*/ 8 h 267"/>
                <a:gd name="T2" fmla="*/ 0 w 139"/>
                <a:gd name="T3" fmla="*/ 262 h 267"/>
                <a:gd name="T4" fmla="*/ 27 w 139"/>
                <a:gd name="T5" fmla="*/ 267 h 267"/>
                <a:gd name="T6" fmla="*/ 50 w 139"/>
                <a:gd name="T7" fmla="*/ 262 h 267"/>
                <a:gd name="T8" fmla="*/ 50 w 139"/>
                <a:gd name="T9" fmla="*/ 113 h 267"/>
                <a:gd name="T10" fmla="*/ 131 w 139"/>
                <a:gd name="T11" fmla="*/ 50 h 267"/>
                <a:gd name="T12" fmla="*/ 131 w 139"/>
                <a:gd name="T13" fmla="*/ 3 h 267"/>
                <a:gd name="T14" fmla="*/ 43 w 139"/>
                <a:gd name="T15" fmla="*/ 48 h 267"/>
                <a:gd name="T16" fmla="*/ 39 w 139"/>
                <a:gd name="T17" fmla="*/ 6 h 267"/>
                <a:gd name="T18" fmla="*/ 0 w 139"/>
                <a:gd name="T19" fmla="*/ 8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 h="267">
                  <a:moveTo>
                    <a:pt x="0" y="8"/>
                  </a:moveTo>
                  <a:cubicBezTo>
                    <a:pt x="0" y="262"/>
                    <a:pt x="0" y="262"/>
                    <a:pt x="0" y="262"/>
                  </a:cubicBezTo>
                  <a:cubicBezTo>
                    <a:pt x="0" y="262"/>
                    <a:pt x="6" y="267"/>
                    <a:pt x="27" y="267"/>
                  </a:cubicBezTo>
                  <a:cubicBezTo>
                    <a:pt x="49" y="267"/>
                    <a:pt x="50" y="262"/>
                    <a:pt x="50" y="262"/>
                  </a:cubicBezTo>
                  <a:cubicBezTo>
                    <a:pt x="50" y="113"/>
                    <a:pt x="50" y="113"/>
                    <a:pt x="50" y="113"/>
                  </a:cubicBezTo>
                  <a:cubicBezTo>
                    <a:pt x="50" y="113"/>
                    <a:pt x="49" y="40"/>
                    <a:pt x="131" y="50"/>
                  </a:cubicBezTo>
                  <a:cubicBezTo>
                    <a:pt x="131" y="50"/>
                    <a:pt x="139" y="36"/>
                    <a:pt x="131" y="3"/>
                  </a:cubicBezTo>
                  <a:cubicBezTo>
                    <a:pt x="131" y="3"/>
                    <a:pt x="63" y="4"/>
                    <a:pt x="43" y="48"/>
                  </a:cubicBezTo>
                  <a:cubicBezTo>
                    <a:pt x="43" y="48"/>
                    <a:pt x="43" y="19"/>
                    <a:pt x="39" y="6"/>
                  </a:cubicBezTo>
                  <a:cubicBezTo>
                    <a:pt x="39" y="6"/>
                    <a:pt x="11" y="0"/>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 name="Freeform 496"/>
            <p:cNvSpPr>
              <a:spLocks noEditPoints="1"/>
            </p:cNvSpPr>
            <p:nvPr userDrawn="1"/>
          </p:nvSpPr>
          <p:spPr bwMode="auto">
            <a:xfrm>
              <a:off x="2857" y="1635"/>
              <a:ext cx="288" cy="437"/>
            </a:xfrm>
            <a:custGeom>
              <a:avLst/>
              <a:gdLst>
                <a:gd name="T0" fmla="*/ 41 w 230"/>
                <a:gd name="T1" fmla="*/ 52 h 349"/>
                <a:gd name="T2" fmla="*/ 52 w 230"/>
                <a:gd name="T3" fmla="*/ 90 h 349"/>
                <a:gd name="T4" fmla="*/ 171 w 230"/>
                <a:gd name="T5" fmla="*/ 144 h 349"/>
                <a:gd name="T6" fmla="*/ 19 w 230"/>
                <a:gd name="T7" fmla="*/ 225 h 349"/>
                <a:gd name="T8" fmla="*/ 220 w 230"/>
                <a:gd name="T9" fmla="*/ 297 h 349"/>
                <a:gd name="T10" fmla="*/ 220 w 230"/>
                <a:gd name="T11" fmla="*/ 134 h 349"/>
                <a:gd name="T12" fmla="*/ 41 w 230"/>
                <a:gd name="T13" fmla="*/ 52 h 349"/>
                <a:gd name="T14" fmla="*/ 172 w 230"/>
                <a:gd name="T15" fmla="*/ 264 h 349"/>
                <a:gd name="T16" fmla="*/ 70 w 230"/>
                <a:gd name="T17" fmla="*/ 224 h 349"/>
                <a:gd name="T18" fmla="*/ 172 w 230"/>
                <a:gd name="T19" fmla="*/ 184 h 349"/>
                <a:gd name="T20" fmla="*/ 172 w 230"/>
                <a:gd name="T21" fmla="*/ 264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349">
                  <a:moveTo>
                    <a:pt x="41" y="52"/>
                  </a:moveTo>
                  <a:cubicBezTo>
                    <a:pt x="41" y="52"/>
                    <a:pt x="42" y="82"/>
                    <a:pt x="52" y="90"/>
                  </a:cubicBezTo>
                  <a:cubicBezTo>
                    <a:pt x="52" y="90"/>
                    <a:pt x="181" y="49"/>
                    <a:pt x="171" y="144"/>
                  </a:cubicBezTo>
                  <a:cubicBezTo>
                    <a:pt x="171" y="144"/>
                    <a:pt x="25" y="123"/>
                    <a:pt x="19" y="225"/>
                  </a:cubicBezTo>
                  <a:cubicBezTo>
                    <a:pt x="19" y="225"/>
                    <a:pt x="0" y="349"/>
                    <a:pt x="220" y="297"/>
                  </a:cubicBezTo>
                  <a:cubicBezTo>
                    <a:pt x="220" y="134"/>
                    <a:pt x="220" y="134"/>
                    <a:pt x="220" y="134"/>
                  </a:cubicBezTo>
                  <a:cubicBezTo>
                    <a:pt x="220" y="134"/>
                    <a:pt x="230" y="0"/>
                    <a:pt x="41" y="52"/>
                  </a:cubicBezTo>
                  <a:close/>
                  <a:moveTo>
                    <a:pt x="172" y="264"/>
                  </a:moveTo>
                  <a:cubicBezTo>
                    <a:pt x="172" y="264"/>
                    <a:pt x="66" y="299"/>
                    <a:pt x="70" y="224"/>
                  </a:cubicBezTo>
                  <a:cubicBezTo>
                    <a:pt x="70" y="161"/>
                    <a:pt x="172" y="184"/>
                    <a:pt x="172" y="184"/>
                  </a:cubicBezTo>
                  <a:lnTo>
                    <a:pt x="172"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 name="Freeform 497"/>
            <p:cNvSpPr>
              <a:spLocks noEditPoints="1"/>
            </p:cNvSpPr>
            <p:nvPr userDrawn="1"/>
          </p:nvSpPr>
          <p:spPr bwMode="auto">
            <a:xfrm>
              <a:off x="3503" y="1635"/>
              <a:ext cx="288" cy="437"/>
            </a:xfrm>
            <a:custGeom>
              <a:avLst/>
              <a:gdLst>
                <a:gd name="T0" fmla="*/ 41 w 230"/>
                <a:gd name="T1" fmla="*/ 52 h 349"/>
                <a:gd name="T2" fmla="*/ 52 w 230"/>
                <a:gd name="T3" fmla="*/ 90 h 349"/>
                <a:gd name="T4" fmla="*/ 171 w 230"/>
                <a:gd name="T5" fmla="*/ 144 h 349"/>
                <a:gd name="T6" fmla="*/ 19 w 230"/>
                <a:gd name="T7" fmla="*/ 225 h 349"/>
                <a:gd name="T8" fmla="*/ 220 w 230"/>
                <a:gd name="T9" fmla="*/ 297 h 349"/>
                <a:gd name="T10" fmla="*/ 220 w 230"/>
                <a:gd name="T11" fmla="*/ 134 h 349"/>
                <a:gd name="T12" fmla="*/ 41 w 230"/>
                <a:gd name="T13" fmla="*/ 52 h 349"/>
                <a:gd name="T14" fmla="*/ 172 w 230"/>
                <a:gd name="T15" fmla="*/ 264 h 349"/>
                <a:gd name="T16" fmla="*/ 70 w 230"/>
                <a:gd name="T17" fmla="*/ 224 h 349"/>
                <a:gd name="T18" fmla="*/ 172 w 230"/>
                <a:gd name="T19" fmla="*/ 184 h 349"/>
                <a:gd name="T20" fmla="*/ 172 w 230"/>
                <a:gd name="T21" fmla="*/ 264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349">
                  <a:moveTo>
                    <a:pt x="41" y="52"/>
                  </a:moveTo>
                  <a:cubicBezTo>
                    <a:pt x="41" y="52"/>
                    <a:pt x="42" y="82"/>
                    <a:pt x="52" y="90"/>
                  </a:cubicBezTo>
                  <a:cubicBezTo>
                    <a:pt x="52" y="90"/>
                    <a:pt x="181" y="49"/>
                    <a:pt x="171" y="144"/>
                  </a:cubicBezTo>
                  <a:cubicBezTo>
                    <a:pt x="171" y="144"/>
                    <a:pt x="25" y="123"/>
                    <a:pt x="19" y="225"/>
                  </a:cubicBezTo>
                  <a:cubicBezTo>
                    <a:pt x="19" y="225"/>
                    <a:pt x="0" y="349"/>
                    <a:pt x="220" y="297"/>
                  </a:cubicBezTo>
                  <a:cubicBezTo>
                    <a:pt x="220" y="134"/>
                    <a:pt x="220" y="134"/>
                    <a:pt x="220" y="134"/>
                  </a:cubicBezTo>
                  <a:cubicBezTo>
                    <a:pt x="220" y="134"/>
                    <a:pt x="230" y="0"/>
                    <a:pt x="41" y="52"/>
                  </a:cubicBezTo>
                  <a:close/>
                  <a:moveTo>
                    <a:pt x="172" y="264"/>
                  </a:moveTo>
                  <a:cubicBezTo>
                    <a:pt x="172" y="264"/>
                    <a:pt x="66" y="299"/>
                    <a:pt x="70" y="224"/>
                  </a:cubicBezTo>
                  <a:cubicBezTo>
                    <a:pt x="70" y="161"/>
                    <a:pt x="172" y="184"/>
                    <a:pt x="172" y="184"/>
                  </a:cubicBezTo>
                  <a:lnTo>
                    <a:pt x="172"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 name="Freeform 498"/>
            <p:cNvSpPr>
              <a:spLocks noEditPoints="1"/>
            </p:cNvSpPr>
            <p:nvPr userDrawn="1"/>
          </p:nvSpPr>
          <p:spPr bwMode="auto">
            <a:xfrm>
              <a:off x="3167" y="1356"/>
              <a:ext cx="306" cy="735"/>
            </a:xfrm>
            <a:custGeom>
              <a:avLst/>
              <a:gdLst>
                <a:gd name="T0" fmla="*/ 197 w 244"/>
                <a:gd name="T1" fmla="*/ 7 h 587"/>
                <a:gd name="T2" fmla="*/ 197 w 244"/>
                <a:gd name="T3" fmla="*/ 271 h 587"/>
                <a:gd name="T4" fmla="*/ 16 w 244"/>
                <a:gd name="T5" fmla="*/ 403 h 587"/>
                <a:gd name="T6" fmla="*/ 244 w 244"/>
                <a:gd name="T7" fmla="*/ 520 h 587"/>
                <a:gd name="T8" fmla="*/ 244 w 244"/>
                <a:gd name="T9" fmla="*/ 7 h 587"/>
                <a:gd name="T10" fmla="*/ 197 w 244"/>
                <a:gd name="T11" fmla="*/ 7 h 587"/>
                <a:gd name="T12" fmla="*/ 195 w 244"/>
                <a:gd name="T13" fmla="*/ 488 h 587"/>
                <a:gd name="T14" fmla="*/ 69 w 244"/>
                <a:gd name="T15" fmla="*/ 399 h 587"/>
                <a:gd name="T16" fmla="*/ 195 w 244"/>
                <a:gd name="T17" fmla="*/ 314 h 587"/>
                <a:gd name="T18" fmla="*/ 195 w 244"/>
                <a:gd name="T19" fmla="*/ 488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587">
                  <a:moveTo>
                    <a:pt x="197" y="7"/>
                  </a:moveTo>
                  <a:cubicBezTo>
                    <a:pt x="197" y="271"/>
                    <a:pt x="197" y="271"/>
                    <a:pt x="197" y="271"/>
                  </a:cubicBezTo>
                  <a:cubicBezTo>
                    <a:pt x="197" y="271"/>
                    <a:pt x="28" y="222"/>
                    <a:pt x="16" y="403"/>
                  </a:cubicBezTo>
                  <a:cubicBezTo>
                    <a:pt x="16" y="403"/>
                    <a:pt x="0" y="587"/>
                    <a:pt x="244" y="520"/>
                  </a:cubicBezTo>
                  <a:cubicBezTo>
                    <a:pt x="244" y="7"/>
                    <a:pt x="244" y="7"/>
                    <a:pt x="244" y="7"/>
                  </a:cubicBezTo>
                  <a:cubicBezTo>
                    <a:pt x="244" y="7"/>
                    <a:pt x="218" y="0"/>
                    <a:pt x="197" y="7"/>
                  </a:cubicBezTo>
                  <a:close/>
                  <a:moveTo>
                    <a:pt x="195" y="488"/>
                  </a:moveTo>
                  <a:cubicBezTo>
                    <a:pt x="195" y="488"/>
                    <a:pt x="69" y="528"/>
                    <a:pt x="69" y="399"/>
                  </a:cubicBezTo>
                  <a:cubicBezTo>
                    <a:pt x="69" y="266"/>
                    <a:pt x="195" y="314"/>
                    <a:pt x="195" y="314"/>
                  </a:cubicBezTo>
                  <a:lnTo>
                    <a:pt x="195" y="4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 name="Freeform 499"/>
            <p:cNvSpPr>
              <a:spLocks noEditPoints="1"/>
            </p:cNvSpPr>
            <p:nvPr userDrawn="1"/>
          </p:nvSpPr>
          <p:spPr bwMode="auto">
            <a:xfrm>
              <a:off x="3876" y="1768"/>
              <a:ext cx="77" cy="222"/>
            </a:xfrm>
            <a:custGeom>
              <a:avLst/>
              <a:gdLst>
                <a:gd name="T0" fmla="*/ 6 w 62"/>
                <a:gd name="T1" fmla="*/ 56 h 178"/>
                <a:gd name="T2" fmla="*/ 7 w 62"/>
                <a:gd name="T3" fmla="*/ 57 h 178"/>
                <a:gd name="T4" fmla="*/ 31 w 62"/>
                <a:gd name="T5" fmla="*/ 60 h 178"/>
                <a:gd name="T6" fmla="*/ 56 w 62"/>
                <a:gd name="T7" fmla="*/ 57 h 178"/>
                <a:gd name="T8" fmla="*/ 57 w 62"/>
                <a:gd name="T9" fmla="*/ 56 h 178"/>
                <a:gd name="T10" fmla="*/ 62 w 62"/>
                <a:gd name="T11" fmla="*/ 30 h 178"/>
                <a:gd name="T12" fmla="*/ 58 w 62"/>
                <a:gd name="T13" fmla="*/ 5 h 178"/>
                <a:gd name="T14" fmla="*/ 58 w 62"/>
                <a:gd name="T15" fmla="*/ 4 h 178"/>
                <a:gd name="T16" fmla="*/ 57 w 62"/>
                <a:gd name="T17" fmla="*/ 4 h 178"/>
                <a:gd name="T18" fmla="*/ 56 w 62"/>
                <a:gd name="T19" fmla="*/ 3 h 178"/>
                <a:gd name="T20" fmla="*/ 31 w 62"/>
                <a:gd name="T21" fmla="*/ 0 h 178"/>
                <a:gd name="T22" fmla="*/ 7 w 62"/>
                <a:gd name="T23" fmla="*/ 3 h 178"/>
                <a:gd name="T24" fmla="*/ 6 w 62"/>
                <a:gd name="T25" fmla="*/ 3 h 178"/>
                <a:gd name="T26" fmla="*/ 0 w 62"/>
                <a:gd name="T27" fmla="*/ 30 h 178"/>
                <a:gd name="T28" fmla="*/ 6 w 62"/>
                <a:gd name="T29" fmla="*/ 56 h 178"/>
                <a:gd name="T30" fmla="*/ 58 w 62"/>
                <a:gd name="T31" fmla="*/ 123 h 178"/>
                <a:gd name="T32" fmla="*/ 58 w 62"/>
                <a:gd name="T33" fmla="*/ 122 h 178"/>
                <a:gd name="T34" fmla="*/ 57 w 62"/>
                <a:gd name="T35" fmla="*/ 121 h 178"/>
                <a:gd name="T36" fmla="*/ 56 w 62"/>
                <a:gd name="T37" fmla="*/ 121 h 178"/>
                <a:gd name="T38" fmla="*/ 31 w 62"/>
                <a:gd name="T39" fmla="*/ 118 h 178"/>
                <a:gd name="T40" fmla="*/ 7 w 62"/>
                <a:gd name="T41" fmla="*/ 121 h 178"/>
                <a:gd name="T42" fmla="*/ 6 w 62"/>
                <a:gd name="T43" fmla="*/ 121 h 178"/>
                <a:gd name="T44" fmla="*/ 0 w 62"/>
                <a:gd name="T45" fmla="*/ 148 h 178"/>
                <a:gd name="T46" fmla="*/ 6 w 62"/>
                <a:gd name="T47" fmla="*/ 174 h 178"/>
                <a:gd name="T48" fmla="*/ 7 w 62"/>
                <a:gd name="T49" fmla="*/ 174 h 178"/>
                <a:gd name="T50" fmla="*/ 31 w 62"/>
                <a:gd name="T51" fmla="*/ 178 h 178"/>
                <a:gd name="T52" fmla="*/ 56 w 62"/>
                <a:gd name="T53" fmla="*/ 174 h 178"/>
                <a:gd name="T54" fmla="*/ 57 w 62"/>
                <a:gd name="T55" fmla="*/ 174 h 178"/>
                <a:gd name="T56" fmla="*/ 62 w 62"/>
                <a:gd name="T57" fmla="*/ 148 h 178"/>
                <a:gd name="T58" fmla="*/ 58 w 62"/>
                <a:gd name="T59" fmla="*/ 12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2" h="178">
                  <a:moveTo>
                    <a:pt x="6" y="56"/>
                  </a:moveTo>
                  <a:cubicBezTo>
                    <a:pt x="6" y="56"/>
                    <a:pt x="6" y="57"/>
                    <a:pt x="7" y="57"/>
                  </a:cubicBezTo>
                  <a:cubicBezTo>
                    <a:pt x="11" y="58"/>
                    <a:pt x="21" y="60"/>
                    <a:pt x="31" y="60"/>
                  </a:cubicBezTo>
                  <a:cubicBezTo>
                    <a:pt x="42" y="60"/>
                    <a:pt x="51" y="59"/>
                    <a:pt x="56" y="57"/>
                  </a:cubicBezTo>
                  <a:cubicBezTo>
                    <a:pt x="56" y="57"/>
                    <a:pt x="56" y="56"/>
                    <a:pt x="57" y="56"/>
                  </a:cubicBezTo>
                  <a:cubicBezTo>
                    <a:pt x="60" y="56"/>
                    <a:pt x="62" y="44"/>
                    <a:pt x="62" y="30"/>
                  </a:cubicBezTo>
                  <a:cubicBezTo>
                    <a:pt x="62" y="18"/>
                    <a:pt x="61" y="9"/>
                    <a:pt x="58" y="5"/>
                  </a:cubicBezTo>
                  <a:cubicBezTo>
                    <a:pt x="58" y="5"/>
                    <a:pt x="58" y="5"/>
                    <a:pt x="58" y="4"/>
                  </a:cubicBezTo>
                  <a:cubicBezTo>
                    <a:pt x="58" y="4"/>
                    <a:pt x="57" y="4"/>
                    <a:pt x="57" y="4"/>
                  </a:cubicBezTo>
                  <a:cubicBezTo>
                    <a:pt x="57" y="3"/>
                    <a:pt x="56" y="3"/>
                    <a:pt x="56" y="3"/>
                  </a:cubicBezTo>
                  <a:cubicBezTo>
                    <a:pt x="52" y="1"/>
                    <a:pt x="42" y="0"/>
                    <a:pt x="31" y="0"/>
                  </a:cubicBezTo>
                  <a:cubicBezTo>
                    <a:pt x="21" y="0"/>
                    <a:pt x="11" y="1"/>
                    <a:pt x="7" y="3"/>
                  </a:cubicBezTo>
                  <a:cubicBezTo>
                    <a:pt x="7" y="3"/>
                    <a:pt x="6" y="3"/>
                    <a:pt x="6" y="3"/>
                  </a:cubicBezTo>
                  <a:cubicBezTo>
                    <a:pt x="3" y="4"/>
                    <a:pt x="0" y="15"/>
                    <a:pt x="0" y="30"/>
                  </a:cubicBezTo>
                  <a:cubicBezTo>
                    <a:pt x="0" y="44"/>
                    <a:pt x="3" y="55"/>
                    <a:pt x="6" y="56"/>
                  </a:cubicBezTo>
                  <a:close/>
                  <a:moveTo>
                    <a:pt x="58" y="123"/>
                  </a:moveTo>
                  <a:cubicBezTo>
                    <a:pt x="58" y="123"/>
                    <a:pt x="58" y="122"/>
                    <a:pt x="58" y="122"/>
                  </a:cubicBezTo>
                  <a:cubicBezTo>
                    <a:pt x="58" y="122"/>
                    <a:pt x="57" y="122"/>
                    <a:pt x="57" y="121"/>
                  </a:cubicBezTo>
                  <a:cubicBezTo>
                    <a:pt x="57" y="121"/>
                    <a:pt x="56" y="121"/>
                    <a:pt x="56" y="121"/>
                  </a:cubicBezTo>
                  <a:cubicBezTo>
                    <a:pt x="52" y="119"/>
                    <a:pt x="42" y="118"/>
                    <a:pt x="31" y="118"/>
                  </a:cubicBezTo>
                  <a:cubicBezTo>
                    <a:pt x="21" y="118"/>
                    <a:pt x="11" y="119"/>
                    <a:pt x="7" y="121"/>
                  </a:cubicBezTo>
                  <a:cubicBezTo>
                    <a:pt x="7" y="121"/>
                    <a:pt x="6" y="121"/>
                    <a:pt x="6" y="121"/>
                  </a:cubicBezTo>
                  <a:cubicBezTo>
                    <a:pt x="3" y="122"/>
                    <a:pt x="0" y="133"/>
                    <a:pt x="0" y="148"/>
                  </a:cubicBezTo>
                  <a:cubicBezTo>
                    <a:pt x="0" y="161"/>
                    <a:pt x="3" y="173"/>
                    <a:pt x="6" y="174"/>
                  </a:cubicBezTo>
                  <a:cubicBezTo>
                    <a:pt x="6" y="174"/>
                    <a:pt x="6" y="174"/>
                    <a:pt x="7" y="174"/>
                  </a:cubicBezTo>
                  <a:cubicBezTo>
                    <a:pt x="11" y="176"/>
                    <a:pt x="21" y="178"/>
                    <a:pt x="31" y="178"/>
                  </a:cubicBezTo>
                  <a:cubicBezTo>
                    <a:pt x="42" y="178"/>
                    <a:pt x="51" y="176"/>
                    <a:pt x="56" y="174"/>
                  </a:cubicBezTo>
                  <a:cubicBezTo>
                    <a:pt x="56" y="174"/>
                    <a:pt x="56" y="174"/>
                    <a:pt x="57" y="174"/>
                  </a:cubicBezTo>
                  <a:cubicBezTo>
                    <a:pt x="60" y="174"/>
                    <a:pt x="62" y="162"/>
                    <a:pt x="62" y="148"/>
                  </a:cubicBezTo>
                  <a:cubicBezTo>
                    <a:pt x="62" y="136"/>
                    <a:pt x="61" y="126"/>
                    <a:pt x="58"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3143953083"/>
      </p:ext>
    </p:extLst>
  </p:cSld>
  <p:clrMap bg1="lt1" tx1="dk1" bg2="lt2" tx2="dk2" accent1="accent1" accent2="accent2" accent3="accent3" accent4="accent4" accent5="accent5" accent6="accent6" hlink="hlink" folHlink="folHlink"/>
  <p:transition spd="slow">
    <p:fade/>
  </p:transition>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0"/>
              </a:schemeClr>
            </a:gs>
            <a:gs pos="70000">
              <a:schemeClr val="accent1"/>
            </a:gs>
          </a:gsLst>
          <a:lin ang="27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4"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212717764"/>
      </p:ext>
    </p:extLst>
  </p:cSld>
  <p:clrMap bg1="lt1" tx1="dk1" bg2="lt2" tx2="dk2" accent1="accent1" accent2="accent2" accent3="accent3" accent4="accent4" accent5="accent5" accent6="accent6" hlink="hlink" folHlink="folHlink"/>
  <p:sldLayoutIdLst>
    <p:sldLayoutId id="2147483760" r:id="rId1"/>
    <p:sldLayoutId id="2147483806" r:id="rId2"/>
    <p:sldLayoutId id="2147483807" r:id="rId3"/>
  </p:sldLayoutIdLst>
  <p:transition spd="slow">
    <p:fade/>
  </p:transition>
  <p:hf hdr="0" ftr="0" dt="0"/>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8"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214460680"/>
      </p:ext>
    </p:extLst>
  </p:cSld>
  <p:clrMap bg1="lt1" tx1="dk1" bg2="lt2" tx2="dk2" accent1="accent1" accent2="accent2" accent3="accent3" accent4="accent4" accent5="accent5" accent6="accent6" hlink="hlink" folHlink="folHlink"/>
  <p:sldLayoutIdLst>
    <p:sldLayoutId id="2147483744" r:id="rId1"/>
    <p:sldLayoutId id="2147483675" r:id="rId2"/>
    <p:sldLayoutId id="2147483670" r:id="rId3"/>
    <p:sldLayoutId id="2147483694" r:id="rId4"/>
    <p:sldLayoutId id="2147483676" r:id="rId5"/>
    <p:sldLayoutId id="2147483810" r:id="rId6"/>
    <p:sldLayoutId id="2147483812" r:id="rId7"/>
  </p:sldLayoutIdLst>
  <p:transition spd="slow">
    <p:fade/>
  </p:transition>
  <p:hf hdr="0" ftr="0" dt="0"/>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6"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8432282"/>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811" r:id="rId7"/>
  </p:sldLayoutIdLst>
  <p:transition spd="slow">
    <p:fade/>
  </p:transition>
  <p:timing>
    <p:tnLst>
      <p:par>
        <p:cTn id="1" dur="indefinite" restart="never" nodeType="tmRoot"/>
      </p:par>
    </p:tnLst>
  </p:timing>
  <p:hf hdr="0" ftr="0" dt="0"/>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0"/>
              </a:schemeClr>
            </a:gs>
            <a:gs pos="70000">
              <a:schemeClr val="accent1"/>
            </a:gs>
          </a:gsLst>
          <a:lin ang="27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0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864950757"/>
      </p:ext>
    </p:extLst>
  </p:cSld>
  <p:clrMap bg1="lt1" tx1="dk1" bg2="lt2" tx2="dk2" accent1="accent1" accent2="accent2" accent3="accent3" accent4="accent4" accent5="accent5" accent6="accent6" hlink="hlink" folHlink="folHlink"/>
  <p:sldLayoutIdLst>
    <p:sldLayoutId id="2147483770" r:id="rId1"/>
  </p:sldLayoutIdLst>
  <p:transition spd="slow">
    <p:fade/>
  </p:transition>
  <p:hf hdr="0" ftr="0" dt="0"/>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8"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302299054"/>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808" r:id="rId6"/>
    <p:sldLayoutId id="2147483809" r:id="rId7"/>
  </p:sldLayoutIdLst>
  <p:transition spd="slow">
    <p:fade/>
  </p:transition>
  <p:hf hdr="0" ftr="0" dt="0"/>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0"/>
              </a:schemeClr>
            </a:gs>
            <a:gs pos="70000">
              <a:schemeClr val="accent1"/>
            </a:gs>
          </a:gsLst>
          <a:lin ang="27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76"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425047021"/>
      </p:ext>
    </p:extLst>
  </p:cSld>
  <p:clrMap bg1="lt1" tx1="dk1" bg2="lt2" tx2="dk2" accent1="accent1" accent2="accent2" accent3="accent3" accent4="accent4" accent5="accent5" accent6="accent6" hlink="hlink" folHlink="folHlink"/>
  <p:sldLayoutIdLst>
    <p:sldLayoutId id="2147483778" r:id="rId1"/>
    <p:sldLayoutId id="2147483804" r:id="rId2"/>
    <p:sldLayoutId id="2147483805" r:id="rId3"/>
  </p:sldLayoutIdLst>
  <p:transition spd="slow">
    <p:fade/>
  </p:transition>
  <p:hf hdr="0" ftr="0" dt="0"/>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00"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503439695"/>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Lst>
  <p:transition spd="slow">
    <p:fade/>
  </p:transition>
  <p:hf hdr="0" ftr="0" dt="0"/>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8.pn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png"/><Relationship Id="rId2" Type="http://schemas.openxmlformats.org/officeDocument/2006/relationships/image" Target="../media/image7.png"/><Relationship Id="rId16" Type="http://schemas.openxmlformats.org/officeDocument/2006/relationships/image" Target="../media/image20.png"/><Relationship Id="rId1" Type="http://schemas.openxmlformats.org/officeDocument/2006/relationships/slideLayout" Target="../slideLayouts/slideLayout1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png"/><Relationship Id="rId10" Type="http://schemas.openxmlformats.org/officeDocument/2006/relationships/image" Target="../media/image14.png"/><Relationship Id="rId4" Type="http://schemas.microsoft.com/office/2007/relationships/hdphoto" Target="../media/hdphoto1.wdp"/><Relationship Id="rId9" Type="http://schemas.openxmlformats.org/officeDocument/2006/relationships/image" Target="../media/image13.png"/><Relationship Id="rId14" Type="http://schemas.openxmlformats.org/officeDocument/2006/relationships/image" Target="../media/image1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image" Target="../media/image13.png"/><Relationship Id="rId7" Type="http://schemas.openxmlformats.org/officeDocument/2006/relationships/image" Target="../media/image18.png"/><Relationship Id="rId12"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11.xml"/><Relationship Id="rId6" Type="http://schemas.openxmlformats.org/officeDocument/2006/relationships/image" Target="../media/image15.png"/><Relationship Id="rId11" Type="http://schemas.openxmlformats.org/officeDocument/2006/relationships/image" Target="../media/image26.png"/><Relationship Id="rId5" Type="http://schemas.openxmlformats.org/officeDocument/2006/relationships/image" Target="../media/image16.png"/><Relationship Id="rId15" Type="http://schemas.openxmlformats.org/officeDocument/2006/relationships/image" Target="../media/image29.png"/><Relationship Id="rId10" Type="http://schemas.openxmlformats.org/officeDocument/2006/relationships/image" Target="../media/image25.png"/><Relationship Id="rId4" Type="http://schemas.openxmlformats.org/officeDocument/2006/relationships/image" Target="../media/image17.png"/><Relationship Id="rId9" Type="http://schemas.openxmlformats.org/officeDocument/2006/relationships/image" Target="../media/image24.png"/><Relationship Id="rId14" Type="http://schemas.openxmlformats.org/officeDocument/2006/relationships/image" Target="../media/image10.png"/></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7.png"/><Relationship Id="rId7"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1.xml"/><Relationship Id="rId6" Type="http://schemas.openxmlformats.org/officeDocument/2006/relationships/image" Target="../media/image30.png"/><Relationship Id="rId5" Type="http://schemas.openxmlformats.org/officeDocument/2006/relationships/image" Target="../media/image10.png"/><Relationship Id="rId4" Type="http://schemas.openxmlformats.org/officeDocument/2006/relationships/image" Target="../media/image23.png"/><Relationship Id="rId9" Type="http://schemas.openxmlformats.org/officeDocument/2006/relationships/image" Target="../media/image31.png"/></Relationships>
</file>

<file path=ppt/slides/_rels/slide7.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3.png"/><Relationship Id="rId7" Type="http://schemas.openxmlformats.org/officeDocument/2006/relationships/image" Target="../media/image33.png"/><Relationship Id="rId12" Type="http://schemas.openxmlformats.org/officeDocument/2006/relationships/image" Target="../media/image36.png"/><Relationship Id="rId2" Type="http://schemas.openxmlformats.org/officeDocument/2006/relationships/image" Target="../media/image17.png"/><Relationship Id="rId1" Type="http://schemas.openxmlformats.org/officeDocument/2006/relationships/slideLayout" Target="../slideLayouts/slideLayout11.xml"/><Relationship Id="rId6" Type="http://schemas.openxmlformats.org/officeDocument/2006/relationships/image" Target="../media/image32.png"/><Relationship Id="rId11" Type="http://schemas.openxmlformats.org/officeDocument/2006/relationships/image" Target="../media/image35.png"/><Relationship Id="rId5" Type="http://schemas.openxmlformats.org/officeDocument/2006/relationships/image" Target="../media/image24.png"/><Relationship Id="rId10" Type="http://schemas.openxmlformats.org/officeDocument/2006/relationships/image" Target="../media/image10.png"/><Relationship Id="rId4" Type="http://schemas.openxmlformats.org/officeDocument/2006/relationships/image" Target="../media/image13.png"/><Relationship Id="rId9" Type="http://schemas.openxmlformats.org/officeDocument/2006/relationships/image" Target="../media/image16.png"/></Relationships>
</file>

<file path=ppt/slides/_rels/slide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7044160" y="2322535"/>
            <a:ext cx="4455839" cy="879910"/>
          </a:xfrm>
        </p:spPr>
        <p:txBody>
          <a:bodyPr>
            <a:normAutofit/>
          </a:bodyPr>
          <a:lstStyle/>
          <a:p>
            <a:r>
              <a:rPr lang="en-AU" dirty="0" smtClean="0"/>
              <a:t>Cloud based</a:t>
            </a:r>
          </a:p>
        </p:txBody>
      </p:sp>
      <p:sp>
        <p:nvSpPr>
          <p:cNvPr id="4" name="Text Placeholder 3"/>
          <p:cNvSpPr>
            <a:spLocks noGrp="1"/>
          </p:cNvSpPr>
          <p:nvPr>
            <p:ph type="body" sz="quarter" idx="10"/>
          </p:nvPr>
        </p:nvSpPr>
        <p:spPr>
          <a:xfrm>
            <a:off x="7105119" y="4214815"/>
            <a:ext cx="4747247" cy="1097414"/>
          </a:xfrm>
        </p:spPr>
        <p:txBody>
          <a:bodyPr/>
          <a:lstStyle/>
          <a:p>
            <a:r>
              <a:rPr lang="en-AU" dirty="0" smtClean="0"/>
              <a:t>Framework</a:t>
            </a:r>
            <a:endParaRPr lang="en-AU" dirty="0"/>
          </a:p>
        </p:txBody>
      </p:sp>
      <p:sp>
        <p:nvSpPr>
          <p:cNvPr id="2" name="Text Placeholder 1"/>
          <p:cNvSpPr>
            <a:spLocks noGrp="1"/>
          </p:cNvSpPr>
          <p:nvPr>
            <p:ph type="body" sz="quarter" idx="4294967295"/>
          </p:nvPr>
        </p:nvSpPr>
        <p:spPr>
          <a:xfrm>
            <a:off x="7105120" y="3082109"/>
            <a:ext cx="5147840" cy="801914"/>
          </a:xfrm>
          <a:prstGeom prst="rect">
            <a:avLst/>
          </a:prstGeom>
        </p:spPr>
        <p:txBody>
          <a:bodyPr/>
          <a:lstStyle/>
          <a:p>
            <a:r>
              <a:rPr lang="en-AU" dirty="0" smtClean="0"/>
              <a:t>Modern Data Warehouse</a:t>
            </a:r>
            <a:endParaRPr lang="en-AU" dirty="0"/>
          </a:p>
        </p:txBody>
      </p:sp>
    </p:spTree>
    <p:extLst>
      <p:ext uri="{BB962C8B-B14F-4D97-AF65-F5344CB8AC3E}">
        <p14:creationId xmlns:p14="http://schemas.microsoft.com/office/powerpoint/2010/main" val="3647513815"/>
      </p:ext>
    </p:extLst>
  </p:cSld>
  <p:clrMapOvr>
    <a:masterClrMapping/>
  </p:clrMapOvr>
  <p:transition spd="slow">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 name="Rectangle 250"/>
          <p:cNvSpPr/>
          <p:nvPr/>
        </p:nvSpPr>
        <p:spPr>
          <a:xfrm>
            <a:off x="3990785" y="815597"/>
            <a:ext cx="927022" cy="4008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5" name="Picture 4"/>
          <p:cNvPicPr>
            <a:picLocks noChangeAspect="1"/>
          </p:cNvPicPr>
          <p:nvPr/>
        </p:nvPicPr>
        <p:blipFill>
          <a:blip r:embed="rId2"/>
          <a:stretch>
            <a:fillRect/>
          </a:stretch>
        </p:blipFill>
        <p:spPr>
          <a:xfrm>
            <a:off x="8792530" y="2623497"/>
            <a:ext cx="781587" cy="1107762"/>
          </a:xfrm>
          <a:prstGeom prst="rect">
            <a:avLst/>
          </a:prstGeom>
          <a:effectLst>
            <a:glow rad="101600">
              <a:schemeClr val="accent4">
                <a:satMod val="175000"/>
                <a:alpha val="40000"/>
              </a:schemeClr>
            </a:glow>
          </a:effectLst>
        </p:spPr>
      </p:pic>
      <p:pic>
        <p:nvPicPr>
          <p:cNvPr id="7" name="Picture 6"/>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1464079" y="5270641"/>
            <a:ext cx="217874" cy="304445"/>
          </a:xfrm>
          <a:prstGeom prst="rect">
            <a:avLst/>
          </a:prstGeom>
        </p:spPr>
      </p:pic>
      <p:pic>
        <p:nvPicPr>
          <p:cNvPr id="8" name="Picture 7"/>
          <p:cNvPicPr>
            <a:picLocks noChangeAspect="1"/>
          </p:cNvPicPr>
          <p:nvPr/>
        </p:nvPicPr>
        <p:blipFill>
          <a:blip r:embed="rId5"/>
          <a:stretch>
            <a:fillRect/>
          </a:stretch>
        </p:blipFill>
        <p:spPr>
          <a:xfrm>
            <a:off x="1429614" y="4880116"/>
            <a:ext cx="403157" cy="232239"/>
          </a:xfrm>
          <a:prstGeom prst="rect">
            <a:avLst/>
          </a:prstGeom>
        </p:spPr>
      </p:pic>
      <p:cxnSp>
        <p:nvCxnSpPr>
          <p:cNvPr id="9" name="Straight Connector 8"/>
          <p:cNvCxnSpPr/>
          <p:nvPr/>
        </p:nvCxnSpPr>
        <p:spPr>
          <a:xfrm>
            <a:off x="56707" y="5182457"/>
            <a:ext cx="11830493" cy="51738"/>
          </a:xfrm>
          <a:prstGeom prst="line">
            <a:avLst/>
          </a:prstGeom>
          <a:ln w="25400">
            <a:solidFill>
              <a:srgbClr val="7030A0"/>
            </a:solidFill>
            <a:prstDash val="dash"/>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DFA829C-BD11-444D-B043-86602DE4F646}"/>
              </a:ext>
            </a:extLst>
          </p:cNvPr>
          <p:cNvSpPr txBox="1"/>
          <p:nvPr/>
        </p:nvSpPr>
        <p:spPr>
          <a:xfrm>
            <a:off x="620102" y="4987875"/>
            <a:ext cx="809512" cy="176724"/>
          </a:xfrm>
          <a:prstGeom prst="rect">
            <a:avLst/>
          </a:prstGeom>
          <a:noFill/>
        </p:spPr>
        <p:txBody>
          <a:bodyPr vert="horz" wrap="square" lIns="0" tIns="0" rIns="91440" bIns="45720" rtlCol="0">
            <a:normAutofit lnSpcReduction="10000"/>
          </a:bodyPr>
          <a:lstStyle/>
          <a:p>
            <a:pPr algn="r"/>
            <a:r>
              <a:rPr lang="en-AU" sz="900" b="1" dirty="0">
                <a:latin typeface="+mj-lt"/>
              </a:rPr>
              <a:t>Cloud</a:t>
            </a:r>
          </a:p>
        </p:txBody>
      </p:sp>
      <p:sp>
        <p:nvSpPr>
          <p:cNvPr id="11" name="TextBox 10">
            <a:extLst>
              <a:ext uri="{FF2B5EF4-FFF2-40B4-BE49-F238E27FC236}">
                <a16:creationId xmlns:a16="http://schemas.microsoft.com/office/drawing/2014/main" id="{BDFA829C-BD11-444D-B043-86602DE4F646}"/>
              </a:ext>
            </a:extLst>
          </p:cNvPr>
          <p:cNvSpPr txBox="1"/>
          <p:nvPr/>
        </p:nvSpPr>
        <p:spPr>
          <a:xfrm>
            <a:off x="558381" y="5248031"/>
            <a:ext cx="861224" cy="197762"/>
          </a:xfrm>
          <a:prstGeom prst="rect">
            <a:avLst/>
          </a:prstGeom>
          <a:noFill/>
        </p:spPr>
        <p:txBody>
          <a:bodyPr vert="horz" wrap="square" lIns="0" tIns="0" rIns="91440" bIns="45720" rtlCol="0">
            <a:normAutofit/>
          </a:bodyPr>
          <a:lstStyle/>
          <a:p>
            <a:pPr algn="r"/>
            <a:r>
              <a:rPr lang="en-AU" sz="900" b="1" dirty="0" smtClean="0">
                <a:latin typeface="+mj-lt"/>
              </a:rPr>
              <a:t>On-Premises</a:t>
            </a:r>
            <a:endParaRPr lang="en-AU" sz="900" b="1" dirty="0">
              <a:latin typeface="+mj-lt"/>
            </a:endParaRPr>
          </a:p>
        </p:txBody>
      </p:sp>
      <p:pic>
        <p:nvPicPr>
          <p:cNvPr id="13" name="Picture 12"/>
          <p:cNvPicPr>
            <a:picLocks noChangeAspect="1"/>
          </p:cNvPicPr>
          <p:nvPr/>
        </p:nvPicPr>
        <p:blipFill>
          <a:blip r:embed="rId6"/>
          <a:stretch>
            <a:fillRect/>
          </a:stretch>
        </p:blipFill>
        <p:spPr>
          <a:xfrm>
            <a:off x="997725" y="2447826"/>
            <a:ext cx="492339" cy="570077"/>
          </a:xfrm>
          <a:prstGeom prst="rect">
            <a:avLst/>
          </a:prstGeom>
        </p:spPr>
      </p:pic>
      <p:pic>
        <p:nvPicPr>
          <p:cNvPr id="14" name="Picture 13"/>
          <p:cNvPicPr>
            <a:picLocks noChangeAspect="1"/>
          </p:cNvPicPr>
          <p:nvPr/>
        </p:nvPicPr>
        <p:blipFill>
          <a:blip r:embed="rId7"/>
          <a:stretch>
            <a:fillRect/>
          </a:stretch>
        </p:blipFill>
        <p:spPr>
          <a:xfrm>
            <a:off x="1120114" y="5731672"/>
            <a:ext cx="463374" cy="660817"/>
          </a:xfrm>
          <a:prstGeom prst="rect">
            <a:avLst/>
          </a:prstGeom>
        </p:spPr>
      </p:pic>
      <p:pic>
        <p:nvPicPr>
          <p:cNvPr id="15" name="Picture 14"/>
          <p:cNvPicPr>
            <a:picLocks noChangeAspect="1"/>
          </p:cNvPicPr>
          <p:nvPr/>
        </p:nvPicPr>
        <p:blipFill>
          <a:blip r:embed="rId8"/>
          <a:stretch>
            <a:fillRect/>
          </a:stretch>
        </p:blipFill>
        <p:spPr>
          <a:xfrm>
            <a:off x="349273" y="1031082"/>
            <a:ext cx="512491" cy="394446"/>
          </a:xfrm>
          <a:prstGeom prst="rect">
            <a:avLst/>
          </a:prstGeom>
        </p:spPr>
      </p:pic>
      <p:pic>
        <p:nvPicPr>
          <p:cNvPr id="54" name="Picture 53"/>
          <p:cNvPicPr>
            <a:picLocks noChangeAspect="1"/>
          </p:cNvPicPr>
          <p:nvPr/>
        </p:nvPicPr>
        <p:blipFill>
          <a:blip r:embed="rId9"/>
          <a:stretch>
            <a:fillRect/>
          </a:stretch>
        </p:blipFill>
        <p:spPr>
          <a:xfrm>
            <a:off x="4257773" y="2910287"/>
            <a:ext cx="412596" cy="498466"/>
          </a:xfrm>
          <a:prstGeom prst="rect">
            <a:avLst/>
          </a:prstGeom>
        </p:spPr>
      </p:pic>
      <p:pic>
        <p:nvPicPr>
          <p:cNvPr id="2" name="Picture 1"/>
          <p:cNvPicPr>
            <a:picLocks noChangeAspect="1"/>
          </p:cNvPicPr>
          <p:nvPr/>
        </p:nvPicPr>
        <p:blipFill rotWithShape="1">
          <a:blip r:embed="rId10"/>
          <a:srcRect r="4035"/>
          <a:stretch/>
        </p:blipFill>
        <p:spPr>
          <a:xfrm>
            <a:off x="3261079" y="4996235"/>
            <a:ext cx="368983" cy="439425"/>
          </a:xfrm>
          <a:prstGeom prst="rect">
            <a:avLst/>
          </a:prstGeom>
        </p:spPr>
      </p:pic>
      <p:pic>
        <p:nvPicPr>
          <p:cNvPr id="19" name="Picture 18"/>
          <p:cNvPicPr>
            <a:picLocks noChangeAspect="1"/>
          </p:cNvPicPr>
          <p:nvPr/>
        </p:nvPicPr>
        <p:blipFill>
          <a:blip r:embed="rId11"/>
          <a:stretch>
            <a:fillRect/>
          </a:stretch>
        </p:blipFill>
        <p:spPr>
          <a:xfrm flipV="1">
            <a:off x="997725" y="1122555"/>
            <a:ext cx="298303" cy="281395"/>
          </a:xfrm>
          <a:prstGeom prst="rect">
            <a:avLst/>
          </a:prstGeom>
        </p:spPr>
      </p:pic>
      <p:pic>
        <p:nvPicPr>
          <p:cNvPr id="26" name="Picture 25"/>
          <p:cNvPicPr>
            <a:picLocks noChangeAspect="1"/>
          </p:cNvPicPr>
          <p:nvPr/>
        </p:nvPicPr>
        <p:blipFill>
          <a:blip r:embed="rId12"/>
          <a:stretch>
            <a:fillRect/>
          </a:stretch>
        </p:blipFill>
        <p:spPr>
          <a:xfrm>
            <a:off x="5413648" y="2897615"/>
            <a:ext cx="491590" cy="523103"/>
          </a:xfrm>
          <a:prstGeom prst="rect">
            <a:avLst/>
          </a:prstGeom>
        </p:spPr>
      </p:pic>
      <p:cxnSp>
        <p:nvCxnSpPr>
          <p:cNvPr id="33" name="Elbow Connector 32"/>
          <p:cNvCxnSpPr>
            <a:stCxn id="14" idx="3"/>
            <a:endCxn id="2" idx="2"/>
          </p:cNvCxnSpPr>
          <p:nvPr/>
        </p:nvCxnSpPr>
        <p:spPr>
          <a:xfrm flipV="1">
            <a:off x="1583488" y="5435660"/>
            <a:ext cx="1862083" cy="62642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48" name="Picture 47"/>
          <p:cNvPicPr>
            <a:picLocks noChangeAspect="1"/>
          </p:cNvPicPr>
          <p:nvPr/>
        </p:nvPicPr>
        <p:blipFill>
          <a:blip r:embed="rId9"/>
          <a:stretch>
            <a:fillRect/>
          </a:stretch>
        </p:blipFill>
        <p:spPr>
          <a:xfrm>
            <a:off x="4257773" y="1025395"/>
            <a:ext cx="412596" cy="498466"/>
          </a:xfrm>
          <a:prstGeom prst="rect">
            <a:avLst/>
          </a:prstGeom>
        </p:spPr>
      </p:pic>
      <p:cxnSp>
        <p:nvCxnSpPr>
          <p:cNvPr id="59" name="Straight Arrow Connector 58"/>
          <p:cNvCxnSpPr>
            <a:stCxn id="54" idx="3"/>
            <a:endCxn id="26" idx="1"/>
          </p:cNvCxnSpPr>
          <p:nvPr/>
        </p:nvCxnSpPr>
        <p:spPr>
          <a:xfrm flipV="1">
            <a:off x="4670369" y="3159167"/>
            <a:ext cx="743279" cy="3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84" name="Group 83"/>
          <p:cNvGrpSpPr/>
          <p:nvPr/>
        </p:nvGrpSpPr>
        <p:grpSpPr>
          <a:xfrm>
            <a:off x="6782773" y="2780582"/>
            <a:ext cx="1348242" cy="780807"/>
            <a:chOff x="5828881" y="2192849"/>
            <a:chExt cx="1348242" cy="780807"/>
          </a:xfrm>
        </p:grpSpPr>
        <p:sp>
          <p:nvSpPr>
            <p:cNvPr id="83" name="Rectangle 82"/>
            <p:cNvSpPr/>
            <p:nvPr/>
          </p:nvSpPr>
          <p:spPr>
            <a:xfrm>
              <a:off x="5828881" y="2192849"/>
              <a:ext cx="1348242" cy="780807"/>
            </a:xfrm>
            <a:prstGeom prst="rect">
              <a:avLst/>
            </a:prstGeom>
            <a:solidFill>
              <a:schemeClr val="bg1">
                <a:lumMod val="95000"/>
              </a:schemeClr>
            </a:solidFill>
            <a:ln>
              <a:noFill/>
            </a:ln>
            <a:effectLst>
              <a:outerShdw blurRad="50800" dist="38100" dir="2700000" algn="tl"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25" name="Picture 24"/>
            <p:cNvPicPr>
              <a:picLocks noChangeAspect="1"/>
            </p:cNvPicPr>
            <p:nvPr/>
          </p:nvPicPr>
          <p:blipFill>
            <a:blip r:embed="rId13"/>
            <a:stretch>
              <a:fillRect/>
            </a:stretch>
          </p:blipFill>
          <p:spPr>
            <a:xfrm>
              <a:off x="6470058" y="2320160"/>
              <a:ext cx="535263" cy="493281"/>
            </a:xfrm>
            <a:prstGeom prst="rect">
              <a:avLst/>
            </a:prstGeom>
          </p:spPr>
        </p:pic>
        <p:pic>
          <p:nvPicPr>
            <p:cNvPr id="80" name="Picture 79"/>
            <p:cNvPicPr>
              <a:picLocks noChangeAspect="1"/>
            </p:cNvPicPr>
            <p:nvPr/>
          </p:nvPicPr>
          <p:blipFill>
            <a:blip r:embed="rId9"/>
            <a:stretch>
              <a:fillRect/>
            </a:stretch>
          </p:blipFill>
          <p:spPr>
            <a:xfrm>
              <a:off x="5995126" y="2309882"/>
              <a:ext cx="412596" cy="498466"/>
            </a:xfrm>
            <a:prstGeom prst="rect">
              <a:avLst/>
            </a:prstGeom>
          </p:spPr>
        </p:pic>
      </p:grpSp>
      <p:pic>
        <p:nvPicPr>
          <p:cNvPr id="81" name="Picture 80"/>
          <p:cNvPicPr>
            <a:picLocks noChangeAspect="1"/>
          </p:cNvPicPr>
          <p:nvPr/>
        </p:nvPicPr>
        <p:blipFill>
          <a:blip r:embed="rId9"/>
          <a:stretch>
            <a:fillRect/>
          </a:stretch>
        </p:blipFill>
        <p:spPr>
          <a:xfrm>
            <a:off x="4270271" y="2058978"/>
            <a:ext cx="412596" cy="498466"/>
          </a:xfrm>
          <a:prstGeom prst="rect">
            <a:avLst/>
          </a:prstGeom>
        </p:spPr>
      </p:pic>
      <p:cxnSp>
        <p:nvCxnSpPr>
          <p:cNvPr id="96" name="Elbow Connector 95"/>
          <p:cNvCxnSpPr>
            <a:stCxn id="48" idx="3"/>
            <a:endCxn id="5" idx="0"/>
          </p:cNvCxnSpPr>
          <p:nvPr/>
        </p:nvCxnSpPr>
        <p:spPr>
          <a:xfrm>
            <a:off x="4670369" y="1274628"/>
            <a:ext cx="4512955" cy="13488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1" name="Elbow Connector 140"/>
          <p:cNvCxnSpPr>
            <a:stCxn id="2" idx="0"/>
            <a:endCxn id="54" idx="1"/>
          </p:cNvCxnSpPr>
          <p:nvPr/>
        </p:nvCxnSpPr>
        <p:spPr>
          <a:xfrm rot="5400000" flipH="1" flipV="1">
            <a:off x="2933315" y="3671777"/>
            <a:ext cx="1836715" cy="81220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160" name="Picture 159"/>
          <p:cNvPicPr>
            <a:picLocks noChangeAspect="1"/>
          </p:cNvPicPr>
          <p:nvPr/>
        </p:nvPicPr>
        <p:blipFill>
          <a:blip r:embed="rId9"/>
          <a:stretch>
            <a:fillRect/>
          </a:stretch>
        </p:blipFill>
        <p:spPr>
          <a:xfrm>
            <a:off x="4270271" y="4060669"/>
            <a:ext cx="412596" cy="498466"/>
          </a:xfrm>
          <a:prstGeom prst="rect">
            <a:avLst/>
          </a:prstGeom>
        </p:spPr>
      </p:pic>
      <p:cxnSp>
        <p:nvCxnSpPr>
          <p:cNvPr id="163" name="Elbow Connector 162"/>
          <p:cNvCxnSpPr>
            <a:stCxn id="2" idx="0"/>
            <a:endCxn id="160" idx="2"/>
          </p:cNvCxnSpPr>
          <p:nvPr/>
        </p:nvCxnSpPr>
        <p:spPr>
          <a:xfrm rot="5400000" flipH="1" flipV="1">
            <a:off x="3742520" y="4262186"/>
            <a:ext cx="437100" cy="1030998"/>
          </a:xfrm>
          <a:prstGeom prst="bentConnector3">
            <a:avLst>
              <a:gd name="adj1" fmla="val 6578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6" name="Straight Arrow Connector 175"/>
          <p:cNvCxnSpPr>
            <a:stCxn id="26" idx="3"/>
            <a:endCxn id="83" idx="1"/>
          </p:cNvCxnSpPr>
          <p:nvPr/>
        </p:nvCxnSpPr>
        <p:spPr>
          <a:xfrm>
            <a:off x="5905238" y="3159167"/>
            <a:ext cx="877535" cy="118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p:cNvCxnSpPr>
            <a:stCxn id="83" idx="3"/>
            <a:endCxn id="5" idx="1"/>
          </p:cNvCxnSpPr>
          <p:nvPr/>
        </p:nvCxnSpPr>
        <p:spPr>
          <a:xfrm>
            <a:off x="8131015" y="3170986"/>
            <a:ext cx="661515" cy="63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4" name="Elbow Connector 183"/>
          <p:cNvCxnSpPr>
            <a:stCxn id="81" idx="3"/>
            <a:endCxn id="5" idx="0"/>
          </p:cNvCxnSpPr>
          <p:nvPr/>
        </p:nvCxnSpPr>
        <p:spPr>
          <a:xfrm>
            <a:off x="4682867" y="2308211"/>
            <a:ext cx="4500457" cy="31528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6" name="Elbow Connector 185"/>
          <p:cNvCxnSpPr>
            <a:stCxn id="160" idx="3"/>
            <a:endCxn id="5" idx="2"/>
          </p:cNvCxnSpPr>
          <p:nvPr/>
        </p:nvCxnSpPr>
        <p:spPr>
          <a:xfrm flipV="1">
            <a:off x="4682867" y="3731259"/>
            <a:ext cx="4500457" cy="57864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2" name="Straight Arrow Connector 191"/>
          <p:cNvCxnSpPr>
            <a:stCxn id="19" idx="3"/>
            <a:endCxn id="48" idx="1"/>
          </p:cNvCxnSpPr>
          <p:nvPr/>
        </p:nvCxnSpPr>
        <p:spPr>
          <a:xfrm>
            <a:off x="1296028" y="1263252"/>
            <a:ext cx="2961745" cy="113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7" name="TextBox 196"/>
          <p:cNvSpPr txBox="1"/>
          <p:nvPr/>
        </p:nvSpPr>
        <p:spPr>
          <a:xfrm>
            <a:off x="5016161" y="3380975"/>
            <a:ext cx="1353432" cy="261610"/>
          </a:xfrm>
          <a:prstGeom prst="rect">
            <a:avLst/>
          </a:prstGeom>
          <a:noFill/>
        </p:spPr>
        <p:txBody>
          <a:bodyPr wrap="square" rtlCol="0">
            <a:spAutoFit/>
          </a:bodyPr>
          <a:lstStyle/>
          <a:p>
            <a:pPr algn="ctr"/>
            <a:r>
              <a:rPr lang="en-AU" sz="1100" b="1" dirty="0" smtClean="0">
                <a:solidFill>
                  <a:schemeClr val="tx1">
                    <a:lumMod val="85000"/>
                    <a:lumOff val="15000"/>
                  </a:schemeClr>
                </a:solidFill>
                <a:latin typeface="Segoe UI Light" panose="020B0502040204020203" pitchFamily="34" charset="0"/>
                <a:cs typeface="Segoe UI Light" panose="020B0502040204020203" pitchFamily="34" charset="0"/>
              </a:rPr>
              <a:t>Azure Data Lake</a:t>
            </a:r>
            <a:endParaRPr lang="en-AU" sz="1100" b="1" dirty="0">
              <a:solidFill>
                <a:schemeClr val="tx1">
                  <a:lumMod val="85000"/>
                  <a:lumOff val="15000"/>
                </a:schemeClr>
              </a:solidFill>
              <a:latin typeface="Segoe UI Light" panose="020B0502040204020203" pitchFamily="34" charset="0"/>
              <a:cs typeface="Segoe UI Light" panose="020B0502040204020203" pitchFamily="34" charset="0"/>
            </a:endParaRPr>
          </a:p>
        </p:txBody>
      </p:sp>
      <p:sp>
        <p:nvSpPr>
          <p:cNvPr id="198" name="TextBox 197"/>
          <p:cNvSpPr txBox="1"/>
          <p:nvPr/>
        </p:nvSpPr>
        <p:spPr>
          <a:xfrm>
            <a:off x="3641589" y="4904184"/>
            <a:ext cx="1952370" cy="261610"/>
          </a:xfrm>
          <a:prstGeom prst="rect">
            <a:avLst/>
          </a:prstGeom>
          <a:noFill/>
        </p:spPr>
        <p:txBody>
          <a:bodyPr wrap="square" rtlCol="0">
            <a:spAutoFit/>
          </a:bodyPr>
          <a:lstStyle/>
          <a:p>
            <a:r>
              <a:rPr lang="en-AU" sz="1100" b="1" dirty="0" smtClean="0">
                <a:solidFill>
                  <a:schemeClr val="tx1">
                    <a:lumMod val="85000"/>
                    <a:lumOff val="15000"/>
                  </a:schemeClr>
                </a:solidFill>
                <a:latin typeface="Segoe UI Light" panose="020B0502040204020203" pitchFamily="34" charset="0"/>
                <a:cs typeface="Segoe UI Light" panose="020B0502040204020203" pitchFamily="34" charset="0"/>
              </a:rPr>
              <a:t>Integration Runtime Gateway</a:t>
            </a:r>
            <a:endParaRPr lang="en-AU" sz="1100" b="1" dirty="0">
              <a:solidFill>
                <a:schemeClr val="tx1">
                  <a:lumMod val="85000"/>
                  <a:lumOff val="15000"/>
                </a:schemeClr>
              </a:solidFill>
              <a:latin typeface="Segoe UI Light" panose="020B0502040204020203" pitchFamily="34" charset="0"/>
              <a:cs typeface="Segoe UI Light" panose="020B0502040204020203" pitchFamily="34" charset="0"/>
            </a:endParaRPr>
          </a:p>
        </p:txBody>
      </p:sp>
      <p:sp>
        <p:nvSpPr>
          <p:cNvPr id="199" name="TextBox 198"/>
          <p:cNvSpPr txBox="1"/>
          <p:nvPr/>
        </p:nvSpPr>
        <p:spPr>
          <a:xfrm>
            <a:off x="160822" y="800208"/>
            <a:ext cx="1551314" cy="261610"/>
          </a:xfrm>
          <a:prstGeom prst="rect">
            <a:avLst/>
          </a:prstGeom>
          <a:noFill/>
        </p:spPr>
        <p:txBody>
          <a:bodyPr wrap="square" rtlCol="0">
            <a:spAutoFit/>
          </a:bodyPr>
          <a:lstStyle/>
          <a:p>
            <a:pPr algn="r"/>
            <a:r>
              <a:rPr lang="en-AU" sz="1100" b="1" dirty="0" smtClean="0">
                <a:solidFill>
                  <a:schemeClr val="tx1">
                    <a:lumMod val="85000"/>
                    <a:lumOff val="15000"/>
                  </a:schemeClr>
                </a:solidFill>
                <a:latin typeface="Segoe UI Light" panose="020B0502040204020203" pitchFamily="34" charset="0"/>
                <a:cs typeface="Segoe UI Light" panose="020B0502040204020203" pitchFamily="34" charset="0"/>
              </a:rPr>
              <a:t>Azure File Storage</a:t>
            </a:r>
            <a:endParaRPr lang="en-AU" sz="1100" b="1" dirty="0">
              <a:solidFill>
                <a:schemeClr val="tx1">
                  <a:lumMod val="85000"/>
                  <a:lumOff val="15000"/>
                </a:schemeClr>
              </a:solidFill>
              <a:latin typeface="Segoe UI Light" panose="020B0502040204020203" pitchFamily="34" charset="0"/>
              <a:cs typeface="Segoe UI Light" panose="020B0502040204020203" pitchFamily="34" charset="0"/>
            </a:endParaRPr>
          </a:p>
        </p:txBody>
      </p:sp>
      <p:pic>
        <p:nvPicPr>
          <p:cNvPr id="202" name="Picture 201"/>
          <p:cNvPicPr>
            <a:picLocks noChangeAspect="1"/>
          </p:cNvPicPr>
          <p:nvPr/>
        </p:nvPicPr>
        <p:blipFill>
          <a:blip r:embed="rId8">
            <a:lum bright="70000" contrast="-70000"/>
          </a:blip>
          <a:stretch>
            <a:fillRect/>
          </a:stretch>
        </p:blipFill>
        <p:spPr>
          <a:xfrm>
            <a:off x="343400" y="5943048"/>
            <a:ext cx="512491" cy="394446"/>
          </a:xfrm>
          <a:prstGeom prst="rect">
            <a:avLst/>
          </a:prstGeom>
        </p:spPr>
      </p:pic>
      <p:cxnSp>
        <p:nvCxnSpPr>
          <p:cNvPr id="211" name="Straight Arrow Connector 210"/>
          <p:cNvCxnSpPr>
            <a:stCxn id="15" idx="2"/>
            <a:endCxn id="202" idx="0"/>
          </p:cNvCxnSpPr>
          <p:nvPr/>
        </p:nvCxnSpPr>
        <p:spPr>
          <a:xfrm flipH="1">
            <a:off x="599646" y="1425528"/>
            <a:ext cx="5873" cy="4517520"/>
          </a:xfrm>
          <a:prstGeom prst="straightConnector1">
            <a:avLst/>
          </a:prstGeom>
          <a:ln>
            <a:solidFill>
              <a:schemeClr val="tx1">
                <a:lumMod val="50000"/>
                <a:lumOff val="5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17" name="TextBox 216"/>
          <p:cNvSpPr txBox="1"/>
          <p:nvPr/>
        </p:nvSpPr>
        <p:spPr>
          <a:xfrm>
            <a:off x="639288" y="3177378"/>
            <a:ext cx="1141052" cy="430887"/>
          </a:xfrm>
          <a:prstGeom prst="rect">
            <a:avLst/>
          </a:prstGeom>
          <a:noFill/>
        </p:spPr>
        <p:txBody>
          <a:bodyPr wrap="square" rtlCol="0">
            <a:spAutoFit/>
          </a:bodyPr>
          <a:lstStyle/>
          <a:p>
            <a:pPr algn="ctr"/>
            <a:r>
              <a:rPr lang="en-AU" sz="1100" b="1" dirty="0" smtClean="0">
                <a:solidFill>
                  <a:schemeClr val="tx1">
                    <a:lumMod val="85000"/>
                    <a:lumOff val="15000"/>
                  </a:schemeClr>
                </a:solidFill>
                <a:latin typeface="Segoe UI Light" panose="020B0502040204020203" pitchFamily="34" charset="0"/>
                <a:cs typeface="Segoe UI Light" panose="020B0502040204020203" pitchFamily="34" charset="0"/>
              </a:rPr>
              <a:t>Azure SQL Database</a:t>
            </a:r>
            <a:endParaRPr lang="en-AU" sz="1100" b="1" dirty="0">
              <a:solidFill>
                <a:schemeClr val="tx1">
                  <a:lumMod val="85000"/>
                  <a:lumOff val="15000"/>
                </a:schemeClr>
              </a:solidFill>
              <a:latin typeface="Segoe UI Light" panose="020B0502040204020203" pitchFamily="34" charset="0"/>
              <a:cs typeface="Segoe UI Light" panose="020B0502040204020203" pitchFamily="34" charset="0"/>
            </a:endParaRPr>
          </a:p>
        </p:txBody>
      </p:sp>
      <p:cxnSp>
        <p:nvCxnSpPr>
          <p:cNvPr id="222" name="Elbow Connector 221"/>
          <p:cNvCxnSpPr>
            <a:stCxn id="13" idx="0"/>
            <a:endCxn id="81" idx="1"/>
          </p:cNvCxnSpPr>
          <p:nvPr/>
        </p:nvCxnSpPr>
        <p:spPr>
          <a:xfrm rot="5400000" flipH="1" flipV="1">
            <a:off x="2687276" y="864831"/>
            <a:ext cx="139615" cy="302637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6" name="Elbow Connector 225"/>
          <p:cNvCxnSpPr>
            <a:stCxn id="13" idx="2"/>
            <a:endCxn id="54" idx="1"/>
          </p:cNvCxnSpPr>
          <p:nvPr/>
        </p:nvCxnSpPr>
        <p:spPr>
          <a:xfrm rot="16200000" flipH="1">
            <a:off x="2680026" y="1581772"/>
            <a:ext cx="141617" cy="301387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239" name="Rectangle 238"/>
          <p:cNvSpPr/>
          <p:nvPr/>
        </p:nvSpPr>
        <p:spPr>
          <a:xfrm>
            <a:off x="4876977" y="2010688"/>
            <a:ext cx="2047355" cy="261610"/>
          </a:xfrm>
          <a:prstGeom prst="rect">
            <a:avLst/>
          </a:prstGeom>
        </p:spPr>
        <p:txBody>
          <a:bodyPr wrap="none">
            <a:spAutoFit/>
          </a:bodyPr>
          <a:lstStyle/>
          <a:p>
            <a:r>
              <a:rPr lang="en-AU" sz="1100" b="1" dirty="0" smtClean="0">
                <a:solidFill>
                  <a:schemeClr val="tx1">
                    <a:lumMod val="75000"/>
                  </a:schemeClr>
                </a:solidFill>
                <a:latin typeface="Segoe UI Light" panose="020B0502040204020203" pitchFamily="34" charset="0"/>
                <a:cs typeface="Segoe UI Light" panose="020B0502040204020203" pitchFamily="34" charset="0"/>
              </a:rPr>
              <a:t>Load from Azure SQL Database</a:t>
            </a:r>
            <a:endParaRPr lang="en-AU" sz="1100" b="1" dirty="0">
              <a:solidFill>
                <a:schemeClr val="tx1">
                  <a:lumMod val="75000"/>
                </a:schemeClr>
              </a:solidFill>
              <a:latin typeface="Segoe UI Light" panose="020B0502040204020203" pitchFamily="34" charset="0"/>
              <a:cs typeface="Segoe UI Light" panose="020B0502040204020203" pitchFamily="34" charset="0"/>
            </a:endParaRPr>
          </a:p>
        </p:txBody>
      </p:sp>
      <p:sp>
        <p:nvSpPr>
          <p:cNvPr id="240" name="Rectangle 239"/>
          <p:cNvSpPr/>
          <p:nvPr/>
        </p:nvSpPr>
        <p:spPr>
          <a:xfrm>
            <a:off x="4876976" y="815597"/>
            <a:ext cx="2743023" cy="430887"/>
          </a:xfrm>
          <a:prstGeom prst="rect">
            <a:avLst/>
          </a:prstGeom>
        </p:spPr>
        <p:txBody>
          <a:bodyPr wrap="square">
            <a:spAutoFit/>
          </a:bodyPr>
          <a:lstStyle/>
          <a:p>
            <a:r>
              <a:rPr lang="en-AU" sz="1100" b="1" dirty="0" smtClean="0">
                <a:solidFill>
                  <a:schemeClr val="tx1">
                    <a:lumMod val="75000"/>
                  </a:schemeClr>
                </a:solidFill>
                <a:latin typeface="Segoe UI Light" panose="020B0502040204020203" pitchFamily="34" charset="0"/>
                <a:cs typeface="Segoe UI Light" panose="020B0502040204020203" pitchFamily="34" charset="0"/>
              </a:rPr>
              <a:t>Load XLS/CSV and other text files from mapped disk on Azure File Storage</a:t>
            </a:r>
            <a:endParaRPr lang="en-AU" sz="1100" b="1" dirty="0">
              <a:solidFill>
                <a:schemeClr val="tx1">
                  <a:lumMod val="75000"/>
                </a:schemeClr>
              </a:solidFill>
              <a:latin typeface="Segoe UI Light" panose="020B0502040204020203" pitchFamily="34" charset="0"/>
              <a:cs typeface="Segoe UI Light" panose="020B0502040204020203" pitchFamily="34" charset="0"/>
            </a:endParaRPr>
          </a:p>
        </p:txBody>
      </p:sp>
      <p:sp>
        <p:nvSpPr>
          <p:cNvPr id="241" name="Rectangle 240"/>
          <p:cNvSpPr/>
          <p:nvPr/>
        </p:nvSpPr>
        <p:spPr>
          <a:xfrm>
            <a:off x="1935271" y="3680531"/>
            <a:ext cx="1493657" cy="938719"/>
          </a:xfrm>
          <a:prstGeom prst="rect">
            <a:avLst/>
          </a:prstGeom>
        </p:spPr>
        <p:txBody>
          <a:bodyPr wrap="square">
            <a:spAutoFit/>
          </a:bodyPr>
          <a:lstStyle/>
          <a:p>
            <a:r>
              <a:rPr lang="en-AU" sz="1100" b="1" dirty="0" smtClean="0">
                <a:solidFill>
                  <a:schemeClr val="tx1">
                    <a:lumMod val="75000"/>
                  </a:schemeClr>
                </a:solidFill>
                <a:latin typeface="Segoe UI Light" panose="020B0502040204020203" pitchFamily="34" charset="0"/>
                <a:cs typeface="Segoe UI Light" panose="020B0502040204020203" pitchFamily="34" charset="0"/>
              </a:rPr>
              <a:t>Load data from On-Premises and Azure SQL Database to Data Lake for long term retention</a:t>
            </a:r>
            <a:endParaRPr lang="en-AU" sz="1100" b="1" dirty="0">
              <a:solidFill>
                <a:schemeClr val="tx1">
                  <a:lumMod val="75000"/>
                </a:schemeClr>
              </a:solidFill>
              <a:latin typeface="Segoe UI Light" panose="020B0502040204020203" pitchFamily="34" charset="0"/>
              <a:cs typeface="Segoe UI Light" panose="020B0502040204020203" pitchFamily="34" charset="0"/>
            </a:endParaRPr>
          </a:p>
        </p:txBody>
      </p:sp>
      <p:sp>
        <p:nvSpPr>
          <p:cNvPr id="242" name="Rectangle 241"/>
          <p:cNvSpPr/>
          <p:nvPr/>
        </p:nvSpPr>
        <p:spPr>
          <a:xfrm rot="16200000">
            <a:off x="-1083032" y="2890518"/>
            <a:ext cx="2859125" cy="430887"/>
          </a:xfrm>
          <a:prstGeom prst="rect">
            <a:avLst/>
          </a:prstGeom>
        </p:spPr>
        <p:txBody>
          <a:bodyPr wrap="square">
            <a:spAutoFit/>
          </a:bodyPr>
          <a:lstStyle/>
          <a:p>
            <a:pPr algn="ctr"/>
            <a:r>
              <a:rPr lang="en-AU" sz="1100" b="1" dirty="0" smtClean="0">
                <a:solidFill>
                  <a:schemeClr val="tx1">
                    <a:lumMod val="75000"/>
                  </a:schemeClr>
                </a:solidFill>
                <a:latin typeface="Segoe UI Light" panose="020B0502040204020203" pitchFamily="34" charset="0"/>
                <a:cs typeface="Segoe UI Light" panose="020B0502040204020203" pitchFamily="34" charset="0"/>
              </a:rPr>
              <a:t>Azure File Storage mapped as a separate disk on On-Premises systems and synchronized</a:t>
            </a:r>
            <a:endParaRPr lang="en-AU" sz="1100" b="1" dirty="0">
              <a:solidFill>
                <a:schemeClr val="tx1">
                  <a:lumMod val="75000"/>
                </a:schemeClr>
              </a:solidFill>
              <a:latin typeface="Segoe UI Light" panose="020B0502040204020203" pitchFamily="34" charset="0"/>
              <a:cs typeface="Segoe UI Light" panose="020B0502040204020203" pitchFamily="34" charset="0"/>
            </a:endParaRPr>
          </a:p>
        </p:txBody>
      </p:sp>
      <p:sp>
        <p:nvSpPr>
          <p:cNvPr id="243" name="Rectangle 242"/>
          <p:cNvSpPr/>
          <p:nvPr/>
        </p:nvSpPr>
        <p:spPr>
          <a:xfrm>
            <a:off x="4874321" y="4483519"/>
            <a:ext cx="2512226" cy="261610"/>
          </a:xfrm>
          <a:prstGeom prst="rect">
            <a:avLst/>
          </a:prstGeom>
        </p:spPr>
        <p:txBody>
          <a:bodyPr wrap="none">
            <a:spAutoFit/>
          </a:bodyPr>
          <a:lstStyle/>
          <a:p>
            <a:r>
              <a:rPr lang="en-AU" sz="1100" b="1" dirty="0" smtClean="0">
                <a:solidFill>
                  <a:schemeClr val="tx1">
                    <a:lumMod val="75000"/>
                  </a:schemeClr>
                </a:solidFill>
                <a:latin typeface="Segoe UI Light" panose="020B0502040204020203" pitchFamily="34" charset="0"/>
                <a:cs typeface="Segoe UI Light" panose="020B0502040204020203" pitchFamily="34" charset="0"/>
              </a:rPr>
              <a:t>Load from On-Premises SQL Databases</a:t>
            </a:r>
            <a:endParaRPr lang="en-AU" sz="1100" b="1" dirty="0">
              <a:solidFill>
                <a:schemeClr val="tx1">
                  <a:lumMod val="75000"/>
                </a:schemeClr>
              </a:solidFill>
              <a:latin typeface="Segoe UI Light" panose="020B0502040204020203" pitchFamily="34" charset="0"/>
              <a:cs typeface="Segoe UI Light" panose="020B0502040204020203" pitchFamily="34" charset="0"/>
            </a:endParaRPr>
          </a:p>
        </p:txBody>
      </p:sp>
      <p:sp>
        <p:nvSpPr>
          <p:cNvPr id="244" name="Rectangle 243"/>
          <p:cNvSpPr/>
          <p:nvPr/>
        </p:nvSpPr>
        <p:spPr>
          <a:xfrm>
            <a:off x="6677752" y="2378083"/>
            <a:ext cx="1558284" cy="430887"/>
          </a:xfrm>
          <a:prstGeom prst="rect">
            <a:avLst/>
          </a:prstGeom>
        </p:spPr>
        <p:txBody>
          <a:bodyPr wrap="square">
            <a:spAutoFit/>
          </a:bodyPr>
          <a:lstStyle/>
          <a:p>
            <a:pPr algn="ctr"/>
            <a:r>
              <a:rPr lang="en-AU" sz="1100" b="1" dirty="0" smtClean="0">
                <a:solidFill>
                  <a:schemeClr val="tx1">
                    <a:lumMod val="75000"/>
                  </a:schemeClr>
                </a:solidFill>
                <a:latin typeface="Segoe UI Light" panose="020B0502040204020203" pitchFamily="34" charset="0"/>
                <a:cs typeface="Segoe UI Light" panose="020B0502040204020203" pitchFamily="34" charset="0"/>
              </a:rPr>
              <a:t>Use Databricks to load data from Databricks</a:t>
            </a:r>
            <a:endParaRPr lang="en-AU" sz="1100" b="1" dirty="0">
              <a:solidFill>
                <a:schemeClr val="tx1">
                  <a:lumMod val="75000"/>
                </a:schemeClr>
              </a:solidFill>
              <a:latin typeface="Segoe UI Light" panose="020B0502040204020203" pitchFamily="34" charset="0"/>
              <a:cs typeface="Segoe UI Light" panose="020B0502040204020203" pitchFamily="34" charset="0"/>
            </a:endParaRPr>
          </a:p>
        </p:txBody>
      </p:sp>
      <p:grpSp>
        <p:nvGrpSpPr>
          <p:cNvPr id="4" name="Group 3"/>
          <p:cNvGrpSpPr/>
          <p:nvPr/>
        </p:nvGrpSpPr>
        <p:grpSpPr>
          <a:xfrm>
            <a:off x="1444128" y="724619"/>
            <a:ext cx="453901" cy="5914176"/>
            <a:chOff x="1444128" y="724619"/>
            <a:chExt cx="453901" cy="5914176"/>
          </a:xfrm>
        </p:grpSpPr>
        <p:cxnSp>
          <p:nvCxnSpPr>
            <p:cNvPr id="195" name="Straight Connector 194"/>
            <p:cNvCxnSpPr/>
            <p:nvPr/>
          </p:nvCxnSpPr>
          <p:spPr>
            <a:xfrm>
              <a:off x="1889335" y="724619"/>
              <a:ext cx="2096" cy="5914176"/>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p:cNvCxnSpPr/>
            <p:nvPr/>
          </p:nvCxnSpPr>
          <p:spPr>
            <a:xfrm flipH="1">
              <a:off x="1452822" y="731828"/>
              <a:ext cx="445207"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nvCxnSpPr>
          <p:spPr>
            <a:xfrm flipH="1">
              <a:off x="1444128" y="6630942"/>
              <a:ext cx="445207"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49" name="TextBox 248"/>
          <p:cNvSpPr txBox="1"/>
          <p:nvPr/>
        </p:nvSpPr>
        <p:spPr>
          <a:xfrm>
            <a:off x="390892" y="429653"/>
            <a:ext cx="1551314" cy="261610"/>
          </a:xfrm>
          <a:prstGeom prst="rect">
            <a:avLst/>
          </a:prstGeom>
          <a:noFill/>
        </p:spPr>
        <p:txBody>
          <a:bodyPr wrap="square" rtlCol="0">
            <a:spAutoFit/>
          </a:bodyPr>
          <a:lstStyle/>
          <a:p>
            <a:pPr algn="r"/>
            <a:r>
              <a:rPr lang="en-AU" sz="1100" b="1" dirty="0" smtClean="0">
                <a:solidFill>
                  <a:schemeClr val="tx1">
                    <a:lumMod val="85000"/>
                    <a:lumOff val="15000"/>
                  </a:schemeClr>
                </a:solidFill>
                <a:latin typeface="Segoe UI Light" panose="020B0502040204020203" pitchFamily="34" charset="0"/>
                <a:cs typeface="Segoe UI Light" panose="020B0502040204020203" pitchFamily="34" charset="0"/>
              </a:rPr>
              <a:t>Source</a:t>
            </a:r>
            <a:endParaRPr lang="en-AU" sz="1100" b="1" dirty="0">
              <a:solidFill>
                <a:schemeClr val="tx1">
                  <a:lumMod val="85000"/>
                  <a:lumOff val="15000"/>
                </a:schemeClr>
              </a:solidFill>
              <a:latin typeface="Segoe UI Light" panose="020B0502040204020203" pitchFamily="34" charset="0"/>
              <a:cs typeface="Segoe UI Light" panose="020B0502040204020203" pitchFamily="34" charset="0"/>
            </a:endParaRPr>
          </a:p>
        </p:txBody>
      </p:sp>
      <p:sp>
        <p:nvSpPr>
          <p:cNvPr id="250" name="TextBox 249"/>
          <p:cNvSpPr txBox="1"/>
          <p:nvPr/>
        </p:nvSpPr>
        <p:spPr>
          <a:xfrm>
            <a:off x="3631580" y="5277552"/>
            <a:ext cx="2567678" cy="430887"/>
          </a:xfrm>
          <a:prstGeom prst="rect">
            <a:avLst/>
          </a:prstGeom>
          <a:noFill/>
        </p:spPr>
        <p:txBody>
          <a:bodyPr wrap="square" rtlCol="0">
            <a:spAutoFit/>
          </a:bodyPr>
          <a:lstStyle/>
          <a:p>
            <a:r>
              <a:rPr lang="en-AU" sz="1100" b="1" dirty="0" smtClean="0">
                <a:solidFill>
                  <a:schemeClr val="tx1">
                    <a:lumMod val="75000"/>
                  </a:schemeClr>
                </a:solidFill>
                <a:latin typeface="Segoe UI Light" panose="020B0502040204020203" pitchFamily="34" charset="0"/>
                <a:cs typeface="Segoe UI Light" panose="020B0502040204020203" pitchFamily="34" charset="0"/>
              </a:rPr>
              <a:t>Use Gateway installed on On-Premises server to access data from Cloud</a:t>
            </a:r>
            <a:endParaRPr lang="en-AU" sz="1100" b="1" dirty="0">
              <a:solidFill>
                <a:schemeClr val="tx1">
                  <a:lumMod val="75000"/>
                </a:schemeClr>
              </a:solidFill>
              <a:latin typeface="Segoe UI Light" panose="020B0502040204020203" pitchFamily="34" charset="0"/>
              <a:cs typeface="Segoe UI Light" panose="020B0502040204020203" pitchFamily="34" charset="0"/>
            </a:endParaRPr>
          </a:p>
        </p:txBody>
      </p:sp>
      <p:sp>
        <p:nvSpPr>
          <p:cNvPr id="253" name="Rectangle 252"/>
          <p:cNvSpPr/>
          <p:nvPr/>
        </p:nvSpPr>
        <p:spPr>
          <a:xfrm>
            <a:off x="2694178" y="383487"/>
            <a:ext cx="2261146" cy="430887"/>
          </a:xfrm>
          <a:prstGeom prst="rect">
            <a:avLst/>
          </a:prstGeom>
        </p:spPr>
        <p:txBody>
          <a:bodyPr wrap="square">
            <a:spAutoFit/>
          </a:bodyPr>
          <a:lstStyle/>
          <a:p>
            <a:pPr algn="r"/>
            <a:r>
              <a:rPr lang="en-AU" sz="1100" b="1" dirty="0" smtClean="0">
                <a:solidFill>
                  <a:schemeClr val="tx1">
                    <a:lumMod val="75000"/>
                  </a:schemeClr>
                </a:solidFill>
                <a:latin typeface="Segoe UI Light" panose="020B0502040204020203" pitchFamily="34" charset="0"/>
                <a:cs typeface="Segoe UI Light" panose="020B0502040204020203" pitchFamily="34" charset="0"/>
              </a:rPr>
              <a:t>Use Azure Data Factory for Orchestration from various sources</a:t>
            </a:r>
            <a:endParaRPr lang="en-AU" sz="1100" b="1" dirty="0">
              <a:solidFill>
                <a:schemeClr val="tx1">
                  <a:lumMod val="75000"/>
                </a:schemeClr>
              </a:solidFill>
              <a:latin typeface="Segoe UI Light" panose="020B0502040204020203" pitchFamily="34" charset="0"/>
              <a:cs typeface="Segoe UI Light" panose="020B0502040204020203" pitchFamily="34" charset="0"/>
            </a:endParaRPr>
          </a:p>
        </p:txBody>
      </p:sp>
      <p:pic>
        <p:nvPicPr>
          <p:cNvPr id="16" name="Picture 15"/>
          <p:cNvPicPr>
            <a:picLocks noChangeAspect="1"/>
          </p:cNvPicPr>
          <p:nvPr/>
        </p:nvPicPr>
        <p:blipFill>
          <a:blip r:embed="rId14"/>
          <a:stretch>
            <a:fillRect/>
          </a:stretch>
        </p:blipFill>
        <p:spPr>
          <a:xfrm>
            <a:off x="6199258" y="4125494"/>
            <a:ext cx="408247" cy="367030"/>
          </a:xfrm>
          <a:prstGeom prst="rect">
            <a:avLst/>
          </a:prstGeom>
        </p:spPr>
      </p:pic>
      <p:pic>
        <p:nvPicPr>
          <p:cNvPr id="258" name="Picture 257"/>
          <p:cNvPicPr>
            <a:picLocks noChangeAspect="1"/>
          </p:cNvPicPr>
          <p:nvPr/>
        </p:nvPicPr>
        <p:blipFill>
          <a:blip r:embed="rId15">
            <a:grayscl/>
          </a:blip>
          <a:stretch>
            <a:fillRect/>
          </a:stretch>
        </p:blipFill>
        <p:spPr>
          <a:xfrm>
            <a:off x="11314661" y="2878173"/>
            <a:ext cx="592017" cy="592017"/>
          </a:xfrm>
          <a:prstGeom prst="rect">
            <a:avLst/>
          </a:prstGeom>
        </p:spPr>
      </p:pic>
      <p:pic>
        <p:nvPicPr>
          <p:cNvPr id="266" name="Picture 265"/>
          <p:cNvPicPr>
            <a:picLocks noChangeAspect="1"/>
          </p:cNvPicPr>
          <p:nvPr/>
        </p:nvPicPr>
        <p:blipFill>
          <a:blip r:embed="rId16">
            <a:grayscl/>
          </a:blip>
          <a:stretch>
            <a:fillRect/>
          </a:stretch>
        </p:blipFill>
        <p:spPr>
          <a:xfrm>
            <a:off x="10145256" y="2916516"/>
            <a:ext cx="681491" cy="515332"/>
          </a:xfrm>
          <a:prstGeom prst="rect">
            <a:avLst/>
          </a:prstGeom>
        </p:spPr>
      </p:pic>
      <p:cxnSp>
        <p:nvCxnSpPr>
          <p:cNvPr id="271" name="Straight Arrow Connector 270"/>
          <p:cNvCxnSpPr>
            <a:stCxn id="5" idx="3"/>
            <a:endCxn id="266" idx="1"/>
          </p:cNvCxnSpPr>
          <p:nvPr/>
        </p:nvCxnSpPr>
        <p:spPr>
          <a:xfrm flipV="1">
            <a:off x="9574117" y="3174182"/>
            <a:ext cx="571139" cy="3196"/>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p:cNvCxnSpPr>
            <a:stCxn id="266" idx="3"/>
            <a:endCxn id="258" idx="1"/>
          </p:cNvCxnSpPr>
          <p:nvPr/>
        </p:nvCxnSpPr>
        <p:spPr>
          <a:xfrm>
            <a:off x="10826747" y="3174182"/>
            <a:ext cx="487914" cy="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298" name="Picture 297"/>
          <p:cNvPicPr>
            <a:picLocks noChangeAspect="1"/>
          </p:cNvPicPr>
          <p:nvPr/>
        </p:nvPicPr>
        <p:blipFill>
          <a:blip r:embed="rId17"/>
          <a:stretch>
            <a:fillRect/>
          </a:stretch>
        </p:blipFill>
        <p:spPr>
          <a:xfrm>
            <a:off x="1002300" y="1591962"/>
            <a:ext cx="477935" cy="447686"/>
          </a:xfrm>
          <a:prstGeom prst="rect">
            <a:avLst/>
          </a:prstGeom>
        </p:spPr>
      </p:pic>
      <p:cxnSp>
        <p:nvCxnSpPr>
          <p:cNvPr id="302" name="Elbow Connector 301"/>
          <p:cNvCxnSpPr>
            <a:stCxn id="298" idx="3"/>
            <a:endCxn id="26" idx="0"/>
          </p:cNvCxnSpPr>
          <p:nvPr/>
        </p:nvCxnSpPr>
        <p:spPr>
          <a:xfrm>
            <a:off x="1480235" y="1815805"/>
            <a:ext cx="4179208" cy="1081810"/>
          </a:xfrm>
          <a:prstGeom prst="bentConnector2">
            <a:avLst/>
          </a:prstGeom>
          <a:ln>
            <a:solidFill>
              <a:schemeClr val="bg1">
                <a:lumMod val="50000"/>
              </a:schemeClr>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303" name="Rectangle 302"/>
          <p:cNvSpPr/>
          <p:nvPr/>
        </p:nvSpPr>
        <p:spPr>
          <a:xfrm>
            <a:off x="1920982" y="1595290"/>
            <a:ext cx="2051858" cy="430887"/>
          </a:xfrm>
          <a:prstGeom prst="rect">
            <a:avLst/>
          </a:prstGeom>
        </p:spPr>
        <p:txBody>
          <a:bodyPr wrap="square">
            <a:spAutoFit/>
          </a:bodyPr>
          <a:lstStyle/>
          <a:p>
            <a:pPr algn="ctr"/>
            <a:r>
              <a:rPr lang="en-AU" sz="1000" b="1" dirty="0" smtClean="0">
                <a:solidFill>
                  <a:schemeClr val="tx1">
                    <a:lumMod val="75000"/>
                  </a:schemeClr>
                </a:solidFill>
                <a:latin typeface="Segoe UI Light" panose="020B0502040204020203" pitchFamily="34" charset="0"/>
                <a:cs typeface="Segoe UI Light" panose="020B0502040204020203" pitchFamily="34" charset="0"/>
              </a:rPr>
              <a:t>Unstructured and </a:t>
            </a:r>
            <a:r>
              <a:rPr lang="en-AU" sz="1100" b="1" dirty="0" smtClean="0">
                <a:solidFill>
                  <a:schemeClr val="tx1">
                    <a:lumMod val="75000"/>
                  </a:schemeClr>
                </a:solidFill>
                <a:latin typeface="Segoe UI Light" panose="020B0502040204020203" pitchFamily="34" charset="0"/>
                <a:cs typeface="Segoe UI Light" panose="020B0502040204020203" pitchFamily="34" charset="0"/>
              </a:rPr>
              <a:t>Semi-structured</a:t>
            </a:r>
            <a:r>
              <a:rPr lang="en-AU" sz="1000" b="1" dirty="0" smtClean="0">
                <a:solidFill>
                  <a:schemeClr val="tx1">
                    <a:lumMod val="75000"/>
                  </a:schemeClr>
                </a:solidFill>
                <a:latin typeface="Segoe UI Light" panose="020B0502040204020203" pitchFamily="34" charset="0"/>
                <a:cs typeface="Segoe UI Light" panose="020B0502040204020203" pitchFamily="34" charset="0"/>
              </a:rPr>
              <a:t> data</a:t>
            </a:r>
            <a:endParaRPr lang="en-AU" sz="1000" b="1" dirty="0">
              <a:solidFill>
                <a:schemeClr val="tx1">
                  <a:lumMod val="75000"/>
                </a:schemeClr>
              </a:solidFill>
              <a:latin typeface="Segoe UI Light" panose="020B0502040204020203" pitchFamily="34" charset="0"/>
              <a:cs typeface="Segoe UI Light" panose="020B0502040204020203" pitchFamily="34" charset="0"/>
            </a:endParaRPr>
          </a:p>
        </p:txBody>
      </p:sp>
      <p:grpSp>
        <p:nvGrpSpPr>
          <p:cNvPr id="316" name="Group 315"/>
          <p:cNvGrpSpPr/>
          <p:nvPr/>
        </p:nvGrpSpPr>
        <p:grpSpPr>
          <a:xfrm>
            <a:off x="8450326" y="5591828"/>
            <a:ext cx="1409360" cy="860682"/>
            <a:chOff x="9514729" y="5585631"/>
            <a:chExt cx="1409360" cy="860682"/>
          </a:xfrm>
        </p:grpSpPr>
        <p:cxnSp>
          <p:nvCxnSpPr>
            <p:cNvPr id="304" name="Straight Arrow Connector 303"/>
            <p:cNvCxnSpPr/>
            <p:nvPr/>
          </p:nvCxnSpPr>
          <p:spPr>
            <a:xfrm>
              <a:off x="10338833" y="5871210"/>
              <a:ext cx="487914" cy="762"/>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05" name="Straight Arrow Connector 304"/>
            <p:cNvCxnSpPr/>
            <p:nvPr/>
          </p:nvCxnSpPr>
          <p:spPr>
            <a:xfrm>
              <a:off x="10338833" y="6177915"/>
              <a:ext cx="487914" cy="99"/>
            </a:xfrm>
            <a:prstGeom prst="straightConnector1">
              <a:avLst/>
            </a:prstGeom>
            <a:ln>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06" name="Rectangle 305"/>
            <p:cNvSpPr/>
            <p:nvPr/>
          </p:nvSpPr>
          <p:spPr>
            <a:xfrm>
              <a:off x="9753576" y="6200092"/>
              <a:ext cx="1170513" cy="246221"/>
            </a:xfrm>
            <a:prstGeom prst="rect">
              <a:avLst/>
            </a:prstGeom>
          </p:spPr>
          <p:txBody>
            <a:bodyPr wrap="none">
              <a:spAutoFit/>
            </a:bodyPr>
            <a:lstStyle/>
            <a:p>
              <a:pPr algn="r"/>
              <a:r>
                <a:rPr lang="en-AU" sz="1000" b="1" dirty="0" smtClean="0">
                  <a:solidFill>
                    <a:schemeClr val="accent1"/>
                  </a:solidFill>
                  <a:latin typeface="Segoe UI Light" panose="020B0502040204020203" pitchFamily="34" charset="0"/>
                  <a:cs typeface="Segoe UI Light" panose="020B0502040204020203" pitchFamily="34" charset="0"/>
                </a:rPr>
                <a:t>Part of Framework</a:t>
              </a:r>
              <a:endParaRPr lang="en-AU" sz="1000" b="1" dirty="0">
                <a:solidFill>
                  <a:schemeClr val="accent1"/>
                </a:solidFill>
                <a:latin typeface="Segoe UI Light" panose="020B0502040204020203" pitchFamily="34" charset="0"/>
                <a:cs typeface="Segoe UI Light" panose="020B0502040204020203" pitchFamily="34" charset="0"/>
              </a:endParaRPr>
            </a:p>
          </p:txBody>
        </p:sp>
        <p:sp>
          <p:nvSpPr>
            <p:cNvPr id="310" name="Rectangle 309"/>
            <p:cNvSpPr/>
            <p:nvPr/>
          </p:nvSpPr>
          <p:spPr>
            <a:xfrm>
              <a:off x="9514729" y="5585631"/>
              <a:ext cx="1409360" cy="246221"/>
            </a:xfrm>
            <a:prstGeom prst="rect">
              <a:avLst/>
            </a:prstGeom>
          </p:spPr>
          <p:txBody>
            <a:bodyPr wrap="none">
              <a:spAutoFit/>
            </a:bodyPr>
            <a:lstStyle/>
            <a:p>
              <a:pPr algn="r"/>
              <a:r>
                <a:rPr lang="en-AU" sz="1000" b="1" dirty="0" smtClean="0">
                  <a:solidFill>
                    <a:schemeClr val="bg1">
                      <a:lumMod val="50000"/>
                    </a:schemeClr>
                  </a:solidFill>
                  <a:latin typeface="Segoe UI Light" panose="020B0502040204020203" pitchFamily="34" charset="0"/>
                  <a:cs typeface="Segoe UI Light" panose="020B0502040204020203" pitchFamily="34" charset="0"/>
                </a:rPr>
                <a:t>Not part of Framework</a:t>
              </a:r>
              <a:endParaRPr lang="en-AU" sz="1000" b="1" dirty="0">
                <a:solidFill>
                  <a:schemeClr val="bg1">
                    <a:lumMod val="50000"/>
                  </a:schemeClr>
                </a:solidFill>
                <a:latin typeface="Segoe UI Light" panose="020B0502040204020203" pitchFamily="34" charset="0"/>
                <a:cs typeface="Segoe UI Light" panose="020B0502040204020203" pitchFamily="34" charset="0"/>
              </a:endParaRPr>
            </a:p>
          </p:txBody>
        </p:sp>
      </p:grpSp>
      <p:sp>
        <p:nvSpPr>
          <p:cNvPr id="69" name="Rectangle 68"/>
          <p:cNvSpPr/>
          <p:nvPr/>
        </p:nvSpPr>
        <p:spPr>
          <a:xfrm>
            <a:off x="1427424" y="57026"/>
            <a:ext cx="548483" cy="273280"/>
          </a:xfrm>
          <a:prstGeom prst="rect">
            <a:avLst/>
          </a:prstGeom>
        </p:spPr>
        <p:txBody>
          <a:bodyPr wrap="non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533101">
              <a:spcBef>
                <a:spcPct val="0"/>
              </a:spcBef>
              <a:spcAft>
                <a:spcPct val="35000"/>
              </a:spcAft>
            </a:pPr>
            <a:r>
              <a:rPr lang="en-US" sz="1176" b="1" spc="-22" dirty="0">
                <a:latin typeface="Segoe UI Semilight" panose="020B0402040204020203" pitchFamily="34" charset="0"/>
                <a:cs typeface="Segoe UI Semilight" panose="020B0402040204020203" pitchFamily="34" charset="0"/>
              </a:rPr>
              <a:t>DATA</a:t>
            </a:r>
          </a:p>
        </p:txBody>
      </p:sp>
      <p:sp>
        <p:nvSpPr>
          <p:cNvPr id="70" name="Rectangle 69"/>
          <p:cNvSpPr/>
          <p:nvPr/>
        </p:nvSpPr>
        <p:spPr>
          <a:xfrm>
            <a:off x="4992620" y="57026"/>
            <a:ext cx="1086964" cy="273280"/>
          </a:xfrm>
          <a:prstGeom prst="rect">
            <a:avLst/>
          </a:prstGeom>
        </p:spPr>
        <p:txBody>
          <a:bodyPr wrap="non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533101">
              <a:spcBef>
                <a:spcPct val="0"/>
              </a:spcBef>
              <a:spcAft>
                <a:spcPct val="35000"/>
              </a:spcAft>
            </a:pPr>
            <a:r>
              <a:rPr lang="en-US" sz="1176" b="1" spc="-22" dirty="0" smtClean="0">
                <a:latin typeface="Segoe UI Semilight" panose="020B0402040204020203" pitchFamily="34" charset="0"/>
                <a:cs typeface="Segoe UI Semilight" panose="020B0402040204020203" pitchFamily="34" charset="0"/>
              </a:rPr>
              <a:t>INTELLIGENCE</a:t>
            </a:r>
            <a:endParaRPr lang="en-US" sz="1176" b="1" spc="-22" dirty="0">
              <a:latin typeface="Segoe UI Semilight" panose="020B0402040204020203" pitchFamily="34" charset="0"/>
              <a:cs typeface="Segoe UI Semilight" panose="020B0402040204020203" pitchFamily="34" charset="0"/>
            </a:endParaRPr>
          </a:p>
        </p:txBody>
      </p:sp>
      <p:sp>
        <p:nvSpPr>
          <p:cNvPr id="71" name="Right Arrow 70"/>
          <p:cNvSpPr/>
          <p:nvPr/>
        </p:nvSpPr>
        <p:spPr bwMode="auto">
          <a:xfrm>
            <a:off x="2236976" y="86028"/>
            <a:ext cx="2562357" cy="190884"/>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699291" fontAlgn="base">
              <a:lnSpc>
                <a:spcPct val="90000"/>
              </a:lnSpc>
              <a:spcBef>
                <a:spcPct val="0"/>
              </a:spcBef>
              <a:spcAft>
                <a:spcPct val="0"/>
              </a:spcAft>
            </a:pPr>
            <a:endParaRPr lang="en-US" dirty="0" err="1">
              <a:solidFill>
                <a:schemeClr val="tx1"/>
              </a:solidFill>
              <a:ea typeface="Segoe UI" pitchFamily="34" charset="0"/>
              <a:cs typeface="Segoe UI" pitchFamily="34" charset="0"/>
            </a:endParaRPr>
          </a:p>
        </p:txBody>
      </p:sp>
      <p:sp>
        <p:nvSpPr>
          <p:cNvPr id="72" name="Rectangle 71"/>
          <p:cNvSpPr/>
          <p:nvPr/>
        </p:nvSpPr>
        <p:spPr>
          <a:xfrm>
            <a:off x="9574117" y="44830"/>
            <a:ext cx="696730" cy="273280"/>
          </a:xfrm>
          <a:prstGeom prst="rect">
            <a:avLst/>
          </a:prstGeom>
        </p:spPr>
        <p:txBody>
          <a:bodyPr wrap="non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533101">
              <a:spcBef>
                <a:spcPct val="0"/>
              </a:spcBef>
              <a:spcAft>
                <a:spcPct val="35000"/>
              </a:spcAft>
            </a:pPr>
            <a:r>
              <a:rPr lang="en-US" sz="1176" b="1" spc="-22" dirty="0">
                <a:latin typeface="Segoe UI Semilight" panose="020B0402040204020203" pitchFamily="34" charset="0"/>
                <a:cs typeface="Segoe UI Semilight" panose="020B0402040204020203" pitchFamily="34" charset="0"/>
              </a:rPr>
              <a:t>ACTION</a:t>
            </a:r>
          </a:p>
        </p:txBody>
      </p:sp>
      <p:sp>
        <p:nvSpPr>
          <p:cNvPr id="73" name="Right Arrow 72"/>
          <p:cNvSpPr/>
          <p:nvPr/>
        </p:nvSpPr>
        <p:spPr bwMode="auto">
          <a:xfrm>
            <a:off x="6370514" y="92994"/>
            <a:ext cx="2813140" cy="190884"/>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699291" fontAlgn="base">
              <a:lnSpc>
                <a:spcPct val="90000"/>
              </a:lnSpc>
              <a:spcBef>
                <a:spcPct val="0"/>
              </a:spcBef>
              <a:spcAft>
                <a:spcPct val="0"/>
              </a:spcAft>
            </a:pPr>
            <a:endParaRPr lang="en-US"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73080234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p:cNvSpPr>
            <a:spLocks noGrp="1"/>
          </p:cNvSpPr>
          <p:nvPr>
            <p:ph idx="11"/>
          </p:nvPr>
        </p:nvSpPr>
        <p:spPr/>
        <p:txBody>
          <a:bodyPr>
            <a:normAutofit fontScale="77500" lnSpcReduction="20000"/>
          </a:bodyPr>
          <a:lstStyle/>
          <a:p>
            <a:pPr marL="457200" indent="-457200">
              <a:buFont typeface="Arial" panose="020B0604020202020204" pitchFamily="34" charset="0"/>
              <a:buChar char="•"/>
            </a:pPr>
            <a:r>
              <a:rPr lang="en-AU" dirty="0" smtClean="0"/>
              <a:t>Load </a:t>
            </a:r>
            <a:r>
              <a:rPr lang="en-AU" dirty="0"/>
              <a:t>data from relational format, text files to Cloud</a:t>
            </a:r>
          </a:p>
          <a:p>
            <a:pPr marL="791007" lvl="1" indent="-342900">
              <a:buFont typeface="Arial" panose="020B0604020202020204" pitchFamily="34" charset="0"/>
              <a:buChar char="•"/>
            </a:pPr>
            <a:r>
              <a:rPr lang="en-AU" dirty="0"/>
              <a:t>Can load CSV, TSV, text format</a:t>
            </a:r>
          </a:p>
          <a:p>
            <a:pPr marL="457200" indent="-457200">
              <a:buFont typeface="Arial" panose="020B0604020202020204" pitchFamily="34" charset="0"/>
              <a:buChar char="•"/>
            </a:pPr>
            <a:r>
              <a:rPr lang="en-AU" dirty="0"/>
              <a:t>Uses ELT (Extract-Load-Transform) pattern suitable for Cloud</a:t>
            </a:r>
          </a:p>
          <a:p>
            <a:pPr marL="791007" lvl="1" indent="-342900">
              <a:buFont typeface="Arial" panose="020B0604020202020204" pitchFamily="34" charset="0"/>
              <a:buChar char="•"/>
            </a:pPr>
            <a:r>
              <a:rPr lang="en-AU" dirty="0"/>
              <a:t>Model data suited for Business Intelligence and Analytics</a:t>
            </a:r>
          </a:p>
          <a:p>
            <a:pPr marL="457200" indent="-457200">
              <a:buFont typeface="Arial" panose="020B0604020202020204" pitchFamily="34" charset="0"/>
              <a:buChar char="•"/>
            </a:pPr>
            <a:r>
              <a:rPr lang="en-AU" dirty="0"/>
              <a:t>Configuration based / Less-Code</a:t>
            </a:r>
          </a:p>
          <a:p>
            <a:pPr marL="457200" indent="-457200">
              <a:buFont typeface="Arial" panose="020B0604020202020204" pitchFamily="34" charset="0"/>
              <a:buChar char="•"/>
            </a:pPr>
            <a:r>
              <a:rPr lang="en-AU" dirty="0"/>
              <a:t>Standardized Logging</a:t>
            </a:r>
          </a:p>
          <a:p>
            <a:pPr marL="457200" indent="-457200">
              <a:buFont typeface="Arial" panose="020B0604020202020204" pitchFamily="34" charset="0"/>
              <a:buChar char="•"/>
            </a:pPr>
            <a:r>
              <a:rPr lang="en-AU" dirty="0" smtClean="0"/>
              <a:t>Patterns to maintain History easily (Slowly Changing Dimension)</a:t>
            </a:r>
            <a:endParaRPr lang="en-AU" dirty="0"/>
          </a:p>
          <a:p>
            <a:pPr marL="457200" indent="-457200">
              <a:buFont typeface="Arial" panose="020B0604020202020204" pitchFamily="34" charset="0"/>
              <a:buChar char="•"/>
            </a:pPr>
            <a:r>
              <a:rPr lang="en-AU" dirty="0"/>
              <a:t>Easy Deployment and Configuration with ARM Template and Azure CLI</a:t>
            </a:r>
          </a:p>
          <a:p>
            <a:pPr marL="457200" indent="-457200">
              <a:buFont typeface="Arial" panose="020B0604020202020204" pitchFamily="34" charset="0"/>
              <a:buChar char="•"/>
            </a:pPr>
            <a:r>
              <a:rPr lang="en-AU" dirty="0"/>
              <a:t>Easy to customize based on requirements</a:t>
            </a:r>
          </a:p>
          <a:p>
            <a:pPr marL="457200" indent="-457200">
              <a:buFont typeface="Arial" panose="020B0604020202020204" pitchFamily="34" charset="0"/>
              <a:buChar char="•"/>
            </a:pPr>
            <a:r>
              <a:rPr lang="en-AU" dirty="0"/>
              <a:t>Bulk of heavy lifting of moving data is simple to setup</a:t>
            </a:r>
          </a:p>
          <a:p>
            <a:pPr marL="457200" indent="-457200">
              <a:buFont typeface="Arial" panose="020B0604020202020204" pitchFamily="34" charset="0"/>
              <a:buChar char="•"/>
            </a:pPr>
            <a:r>
              <a:rPr lang="en-AU" dirty="0" smtClean="0"/>
              <a:t>Meta </a:t>
            </a:r>
            <a:r>
              <a:rPr lang="en-AU" dirty="0"/>
              <a:t>Data </a:t>
            </a:r>
            <a:r>
              <a:rPr lang="en-AU" dirty="0" smtClean="0"/>
              <a:t>driven </a:t>
            </a:r>
            <a:r>
              <a:rPr lang="en-AU" dirty="0"/>
              <a:t>Framework</a:t>
            </a:r>
          </a:p>
          <a:p>
            <a:pPr marL="457200" indent="-457200">
              <a:buFont typeface="Arial" panose="020B0604020202020204" pitchFamily="34" charset="0"/>
              <a:buChar char="•"/>
            </a:pPr>
            <a:r>
              <a:rPr lang="en-AU" dirty="0" smtClean="0"/>
              <a:t>Works </a:t>
            </a:r>
            <a:r>
              <a:rPr lang="en-AU" dirty="0"/>
              <a:t>with Hybrid environment</a:t>
            </a:r>
          </a:p>
          <a:p>
            <a:pPr marL="457200" indent="-457200">
              <a:buFont typeface="Arial" panose="020B0604020202020204" pitchFamily="34" charset="0"/>
              <a:buChar char="•"/>
            </a:pPr>
            <a:r>
              <a:rPr lang="en-AU" dirty="0"/>
              <a:t>Ready for Big Data </a:t>
            </a:r>
            <a:r>
              <a:rPr lang="en-AU" dirty="0" smtClean="0"/>
              <a:t>loads using </a:t>
            </a:r>
            <a:r>
              <a:rPr lang="en-AU" dirty="0"/>
              <a:t>Azure </a:t>
            </a:r>
            <a:r>
              <a:rPr lang="en-AU" dirty="0" smtClean="0"/>
              <a:t>Databricks</a:t>
            </a:r>
          </a:p>
          <a:p>
            <a:pPr marL="457200" indent="-457200">
              <a:buFont typeface="Arial" panose="020B0604020202020204" pitchFamily="34" charset="0"/>
              <a:buChar char="•"/>
            </a:pPr>
            <a:endParaRPr lang="en-AU" dirty="0" smtClean="0"/>
          </a:p>
          <a:p>
            <a:pPr marL="457200" indent="-457200">
              <a:buFont typeface="Arial" panose="020B0604020202020204" pitchFamily="34" charset="0"/>
              <a:buChar char="•"/>
            </a:pPr>
            <a:endParaRPr lang="en-AU" dirty="0" smtClean="0"/>
          </a:p>
          <a:p>
            <a:pPr marL="457200" indent="-457200">
              <a:buFont typeface="Arial" panose="020B0604020202020204" pitchFamily="34" charset="0"/>
              <a:buChar char="•"/>
            </a:pPr>
            <a:endParaRPr lang="en-AU" dirty="0"/>
          </a:p>
        </p:txBody>
      </p:sp>
      <p:sp>
        <p:nvSpPr>
          <p:cNvPr id="2" name="Title 1"/>
          <p:cNvSpPr>
            <a:spLocks noGrp="1"/>
          </p:cNvSpPr>
          <p:nvPr>
            <p:ph type="title"/>
          </p:nvPr>
        </p:nvSpPr>
        <p:spPr/>
        <p:txBody>
          <a:bodyPr>
            <a:normAutofit/>
          </a:bodyPr>
          <a:lstStyle/>
          <a:p>
            <a:r>
              <a:rPr lang="en-AU" sz="3200" dirty="0" smtClean="0"/>
              <a:t>Features of ADF Framework</a:t>
            </a:r>
            <a:endParaRPr lang="en-AU" sz="3200" dirty="0"/>
          </a:p>
        </p:txBody>
      </p:sp>
    </p:spTree>
    <p:extLst>
      <p:ext uri="{BB962C8B-B14F-4D97-AF65-F5344CB8AC3E}">
        <p14:creationId xmlns:p14="http://schemas.microsoft.com/office/powerpoint/2010/main" val="1444870813"/>
      </p:ext>
    </p:extLst>
  </p:cSld>
  <p:clrMapOvr>
    <a:masterClrMapping/>
  </p:clrMapOvr>
  <p:transition spd="slow">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1"/>
          </p:nvPr>
        </p:nvSpPr>
        <p:spPr/>
        <p:txBody>
          <a:bodyPr/>
          <a:lstStyle/>
          <a:p>
            <a:pPr marL="457200" indent="-457200">
              <a:buFont typeface="Arial" panose="020B0604020202020204" pitchFamily="34" charset="0"/>
              <a:buChar char="•"/>
            </a:pPr>
            <a:r>
              <a:rPr lang="en-AU" dirty="0">
                <a:cs typeface="Segoe UI Light" panose="020B0502040204020203" pitchFamily="34" charset="0"/>
              </a:rPr>
              <a:t>Speed of Implementation</a:t>
            </a:r>
          </a:p>
          <a:p>
            <a:pPr marL="457200" indent="-457200">
              <a:buFont typeface="Arial" panose="020B0604020202020204" pitchFamily="34" charset="0"/>
              <a:buChar char="•"/>
            </a:pPr>
            <a:r>
              <a:rPr lang="en-AU" dirty="0">
                <a:cs typeface="Segoe UI Light" panose="020B0502040204020203" pitchFamily="34" charset="0"/>
              </a:rPr>
              <a:t>Less Code less error – more maintainable</a:t>
            </a:r>
          </a:p>
          <a:p>
            <a:pPr marL="457200" indent="-457200">
              <a:buFont typeface="Arial" panose="020B0604020202020204" pitchFamily="34" charset="0"/>
              <a:buChar char="•"/>
            </a:pPr>
            <a:r>
              <a:rPr lang="en-AU" dirty="0">
                <a:cs typeface="Segoe UI Light" panose="020B0502040204020203" pitchFamily="34" charset="0"/>
              </a:rPr>
              <a:t>Time to focus on complex business logic</a:t>
            </a:r>
          </a:p>
          <a:p>
            <a:pPr marL="457200" indent="-457200">
              <a:buFont typeface="Arial" panose="020B0604020202020204" pitchFamily="34" charset="0"/>
              <a:buChar char="•"/>
            </a:pPr>
            <a:r>
              <a:rPr lang="en-AU" dirty="0">
                <a:cs typeface="Segoe UI Light" panose="020B0502040204020203" pitchFamily="34" charset="0"/>
              </a:rPr>
              <a:t>Repeatable</a:t>
            </a:r>
          </a:p>
          <a:p>
            <a:pPr marL="457200" indent="-457200">
              <a:buFont typeface="Arial" panose="020B0604020202020204" pitchFamily="34" charset="0"/>
              <a:buChar char="•"/>
            </a:pPr>
            <a:r>
              <a:rPr lang="en-AU" dirty="0">
                <a:cs typeface="Segoe UI Light" panose="020B0502040204020203" pitchFamily="34" charset="0"/>
              </a:rPr>
              <a:t>Helps follow a standard for the client development </a:t>
            </a:r>
            <a:r>
              <a:rPr lang="en-AU" dirty="0" smtClean="0">
                <a:cs typeface="Segoe UI Light" panose="020B0502040204020203" pitchFamily="34" charset="0"/>
              </a:rPr>
              <a:t>team</a:t>
            </a:r>
            <a:endParaRPr lang="en-AU" dirty="0"/>
          </a:p>
        </p:txBody>
      </p:sp>
      <p:sp>
        <p:nvSpPr>
          <p:cNvPr id="2" name="Title 1"/>
          <p:cNvSpPr>
            <a:spLocks noGrp="1"/>
          </p:cNvSpPr>
          <p:nvPr>
            <p:ph type="title"/>
          </p:nvPr>
        </p:nvSpPr>
        <p:spPr/>
        <p:txBody>
          <a:bodyPr>
            <a:normAutofit/>
          </a:bodyPr>
          <a:lstStyle/>
          <a:p>
            <a:r>
              <a:rPr lang="en-AU" sz="3200" b="1" dirty="0" smtClean="0">
                <a:cs typeface="Segoe UI Light" panose="020B0502040204020203" pitchFamily="34" charset="0"/>
              </a:rPr>
              <a:t>Benefits of ADF Framework</a:t>
            </a:r>
            <a:endParaRPr lang="en-AU" sz="3200" b="1" dirty="0">
              <a:cs typeface="Segoe UI Light" panose="020B0502040204020203" pitchFamily="34" charset="0"/>
            </a:endParaRPr>
          </a:p>
        </p:txBody>
      </p:sp>
      <p:sp>
        <p:nvSpPr>
          <p:cNvPr id="6" name="Text Placeholder 5"/>
          <p:cNvSpPr>
            <a:spLocks noGrp="1"/>
          </p:cNvSpPr>
          <p:nvPr>
            <p:ph type="body" sz="quarter" idx="12"/>
          </p:nvPr>
        </p:nvSpPr>
        <p:spPr/>
        <p:txBody>
          <a:bodyPr/>
          <a:lstStyle/>
          <a:p>
            <a:endParaRPr lang="en-AU"/>
          </a:p>
        </p:txBody>
      </p:sp>
    </p:spTree>
    <p:extLst>
      <p:ext uri="{BB962C8B-B14F-4D97-AF65-F5344CB8AC3E}">
        <p14:creationId xmlns:p14="http://schemas.microsoft.com/office/powerpoint/2010/main" val="3466103848"/>
      </p:ext>
    </p:extLst>
  </p:cSld>
  <p:clrMapOvr>
    <a:masterClrMapping/>
  </p:clrMapOvr>
  <p:transition spd="slow">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 name="Picture 66"/>
          <p:cNvPicPr>
            <a:picLocks noChangeAspect="1"/>
          </p:cNvPicPr>
          <p:nvPr/>
        </p:nvPicPr>
        <p:blipFill>
          <a:blip r:embed="rId2"/>
          <a:stretch>
            <a:fillRect/>
          </a:stretch>
        </p:blipFill>
        <p:spPr>
          <a:xfrm>
            <a:off x="415728" y="832440"/>
            <a:ext cx="631146" cy="577432"/>
          </a:xfrm>
          <a:prstGeom prst="rect">
            <a:avLst/>
          </a:prstGeom>
        </p:spPr>
      </p:pic>
      <p:pic>
        <p:nvPicPr>
          <p:cNvPr id="68" name="Picture 67"/>
          <p:cNvPicPr>
            <a:picLocks noChangeAspect="1"/>
          </p:cNvPicPr>
          <p:nvPr/>
        </p:nvPicPr>
        <p:blipFill>
          <a:blip r:embed="rId3"/>
          <a:stretch>
            <a:fillRect/>
          </a:stretch>
        </p:blipFill>
        <p:spPr>
          <a:xfrm>
            <a:off x="5254637" y="874099"/>
            <a:ext cx="477857" cy="577309"/>
          </a:xfrm>
          <a:prstGeom prst="rect">
            <a:avLst/>
          </a:prstGeom>
        </p:spPr>
      </p:pic>
      <p:pic>
        <p:nvPicPr>
          <p:cNvPr id="69" name="Picture 68"/>
          <p:cNvPicPr>
            <a:picLocks noChangeAspect="1"/>
          </p:cNvPicPr>
          <p:nvPr/>
        </p:nvPicPr>
        <p:blipFill>
          <a:blip r:embed="rId4"/>
          <a:stretch>
            <a:fillRect/>
          </a:stretch>
        </p:blipFill>
        <p:spPr>
          <a:xfrm>
            <a:off x="5178591" y="5815122"/>
            <a:ext cx="535263" cy="493281"/>
          </a:xfrm>
          <a:prstGeom prst="rect">
            <a:avLst/>
          </a:prstGeom>
        </p:spPr>
      </p:pic>
      <p:pic>
        <p:nvPicPr>
          <p:cNvPr id="70" name="Picture 69"/>
          <p:cNvPicPr>
            <a:picLocks noChangeAspect="1"/>
          </p:cNvPicPr>
          <p:nvPr/>
        </p:nvPicPr>
        <p:blipFill>
          <a:blip r:embed="rId5"/>
          <a:stretch>
            <a:fillRect/>
          </a:stretch>
        </p:blipFill>
        <p:spPr>
          <a:xfrm>
            <a:off x="5221515" y="1742002"/>
            <a:ext cx="503081" cy="535330"/>
          </a:xfrm>
          <a:prstGeom prst="rect">
            <a:avLst/>
          </a:prstGeom>
        </p:spPr>
      </p:pic>
      <p:pic>
        <p:nvPicPr>
          <p:cNvPr id="71" name="Picture 70"/>
          <p:cNvPicPr>
            <a:picLocks noChangeAspect="1"/>
          </p:cNvPicPr>
          <p:nvPr/>
        </p:nvPicPr>
        <p:blipFill>
          <a:blip r:embed="rId6"/>
          <a:stretch>
            <a:fillRect/>
          </a:stretch>
        </p:blipFill>
        <p:spPr>
          <a:xfrm flipV="1">
            <a:off x="5244352" y="5114303"/>
            <a:ext cx="469502" cy="442890"/>
          </a:xfrm>
          <a:prstGeom prst="rect">
            <a:avLst/>
          </a:prstGeom>
        </p:spPr>
      </p:pic>
      <p:pic>
        <p:nvPicPr>
          <p:cNvPr id="72" name="Picture 71"/>
          <p:cNvPicPr>
            <a:picLocks noChangeAspect="1"/>
          </p:cNvPicPr>
          <p:nvPr/>
        </p:nvPicPr>
        <p:blipFill>
          <a:blip r:embed="rId7"/>
          <a:stretch>
            <a:fillRect/>
          </a:stretch>
        </p:blipFill>
        <p:spPr>
          <a:xfrm>
            <a:off x="5832925" y="5108765"/>
            <a:ext cx="493415" cy="443599"/>
          </a:xfrm>
          <a:prstGeom prst="rect">
            <a:avLst/>
          </a:prstGeom>
        </p:spPr>
      </p:pic>
      <p:pic>
        <p:nvPicPr>
          <p:cNvPr id="73" name="Picture 72"/>
          <p:cNvPicPr>
            <a:picLocks noChangeAspect="1"/>
          </p:cNvPicPr>
          <p:nvPr/>
        </p:nvPicPr>
        <p:blipFill>
          <a:blip r:embed="rId8"/>
          <a:stretch>
            <a:fillRect/>
          </a:stretch>
        </p:blipFill>
        <p:spPr>
          <a:xfrm>
            <a:off x="5240857" y="3456893"/>
            <a:ext cx="467070" cy="464917"/>
          </a:xfrm>
          <a:prstGeom prst="rect">
            <a:avLst/>
          </a:prstGeom>
        </p:spPr>
      </p:pic>
      <p:pic>
        <p:nvPicPr>
          <p:cNvPr id="75" name="Picture 74"/>
          <p:cNvPicPr>
            <a:picLocks noChangeAspect="1"/>
          </p:cNvPicPr>
          <p:nvPr/>
        </p:nvPicPr>
        <p:blipFill>
          <a:blip r:embed="rId9"/>
          <a:stretch>
            <a:fillRect/>
          </a:stretch>
        </p:blipFill>
        <p:spPr>
          <a:xfrm>
            <a:off x="5859270" y="1769438"/>
            <a:ext cx="508652" cy="489171"/>
          </a:xfrm>
          <a:prstGeom prst="rect">
            <a:avLst/>
          </a:prstGeom>
        </p:spPr>
      </p:pic>
      <p:pic>
        <p:nvPicPr>
          <p:cNvPr id="76" name="Picture 75"/>
          <p:cNvPicPr>
            <a:picLocks noChangeAspect="1"/>
          </p:cNvPicPr>
          <p:nvPr/>
        </p:nvPicPr>
        <p:blipFill>
          <a:blip r:embed="rId10"/>
          <a:stretch>
            <a:fillRect/>
          </a:stretch>
        </p:blipFill>
        <p:spPr>
          <a:xfrm>
            <a:off x="11263956" y="3364480"/>
            <a:ext cx="632415" cy="477294"/>
          </a:xfrm>
          <a:prstGeom prst="rect">
            <a:avLst/>
          </a:prstGeom>
        </p:spPr>
      </p:pic>
      <p:pic>
        <p:nvPicPr>
          <p:cNvPr id="78" name="Picture 77"/>
          <p:cNvPicPr>
            <a:picLocks noChangeAspect="1"/>
          </p:cNvPicPr>
          <p:nvPr/>
        </p:nvPicPr>
        <p:blipFill>
          <a:blip r:embed="rId11"/>
          <a:stretch>
            <a:fillRect/>
          </a:stretch>
        </p:blipFill>
        <p:spPr>
          <a:xfrm>
            <a:off x="415727" y="1507437"/>
            <a:ext cx="1078821" cy="244462"/>
          </a:xfrm>
          <a:prstGeom prst="rect">
            <a:avLst/>
          </a:prstGeom>
        </p:spPr>
      </p:pic>
      <p:pic>
        <p:nvPicPr>
          <p:cNvPr id="79" name="Picture 78"/>
          <p:cNvPicPr>
            <a:picLocks noChangeAspect="1"/>
          </p:cNvPicPr>
          <p:nvPr/>
        </p:nvPicPr>
        <p:blipFill>
          <a:blip r:embed="rId12"/>
          <a:stretch>
            <a:fillRect/>
          </a:stretch>
        </p:blipFill>
        <p:spPr>
          <a:xfrm>
            <a:off x="625448" y="3205510"/>
            <a:ext cx="658767" cy="500663"/>
          </a:xfrm>
          <a:prstGeom prst="rect">
            <a:avLst/>
          </a:prstGeom>
        </p:spPr>
      </p:pic>
      <p:pic>
        <p:nvPicPr>
          <p:cNvPr id="85" name="Picture 84"/>
          <p:cNvPicPr>
            <a:picLocks noChangeAspect="1"/>
          </p:cNvPicPr>
          <p:nvPr/>
        </p:nvPicPr>
        <p:blipFill>
          <a:blip r:embed="rId13"/>
          <a:stretch>
            <a:fillRect/>
          </a:stretch>
        </p:blipFill>
        <p:spPr>
          <a:xfrm>
            <a:off x="1083406" y="926809"/>
            <a:ext cx="401618" cy="434692"/>
          </a:xfrm>
          <a:prstGeom prst="rect">
            <a:avLst/>
          </a:prstGeom>
        </p:spPr>
      </p:pic>
      <p:pic>
        <p:nvPicPr>
          <p:cNvPr id="87" name="Picture 86"/>
          <p:cNvPicPr>
            <a:picLocks noChangeAspect="1"/>
          </p:cNvPicPr>
          <p:nvPr/>
        </p:nvPicPr>
        <p:blipFill>
          <a:blip r:embed="rId14"/>
          <a:stretch>
            <a:fillRect/>
          </a:stretch>
        </p:blipFill>
        <p:spPr>
          <a:xfrm>
            <a:off x="5221515" y="2567926"/>
            <a:ext cx="492339" cy="570077"/>
          </a:xfrm>
          <a:prstGeom prst="rect">
            <a:avLst/>
          </a:prstGeom>
        </p:spPr>
      </p:pic>
      <p:pic>
        <p:nvPicPr>
          <p:cNvPr id="92" name="Picture 91"/>
          <p:cNvPicPr>
            <a:picLocks noChangeAspect="1"/>
          </p:cNvPicPr>
          <p:nvPr/>
        </p:nvPicPr>
        <p:blipFill>
          <a:blip r:embed="rId15"/>
          <a:stretch>
            <a:fillRect/>
          </a:stretch>
        </p:blipFill>
        <p:spPr>
          <a:xfrm>
            <a:off x="5237231" y="4302665"/>
            <a:ext cx="467993" cy="449730"/>
          </a:xfrm>
          <a:prstGeom prst="rect">
            <a:avLst/>
          </a:prstGeom>
        </p:spPr>
      </p:pic>
      <p:sp>
        <p:nvSpPr>
          <p:cNvPr id="94" name="TextBox 93"/>
          <p:cNvSpPr txBox="1"/>
          <p:nvPr/>
        </p:nvSpPr>
        <p:spPr>
          <a:xfrm>
            <a:off x="3259729" y="1031948"/>
            <a:ext cx="1886556" cy="276999"/>
          </a:xfrm>
          <a:prstGeom prst="rect">
            <a:avLst/>
          </a:prstGeom>
          <a:noFill/>
        </p:spPr>
        <p:txBody>
          <a:bodyPr wrap="square" rtlCol="0">
            <a:spAutoFit/>
          </a:bodyPr>
          <a:lstStyle/>
          <a:p>
            <a:pPr algn="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ADF</a:t>
            </a:r>
          </a:p>
        </p:txBody>
      </p:sp>
      <p:sp>
        <p:nvSpPr>
          <p:cNvPr id="95" name="TextBox 94"/>
          <p:cNvSpPr txBox="1"/>
          <p:nvPr/>
        </p:nvSpPr>
        <p:spPr>
          <a:xfrm>
            <a:off x="3183683" y="5930957"/>
            <a:ext cx="1951140" cy="276999"/>
          </a:xfrm>
          <a:prstGeom prst="rect">
            <a:avLst/>
          </a:prstGeom>
          <a:noFill/>
        </p:spPr>
        <p:txBody>
          <a:bodyPr wrap="square" rtlCol="0">
            <a:spAutoFit/>
          </a:bodyPr>
          <a:lstStyle/>
          <a:p>
            <a:pPr algn="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Data Bricks</a:t>
            </a:r>
          </a:p>
        </p:txBody>
      </p:sp>
      <p:sp>
        <p:nvSpPr>
          <p:cNvPr id="97" name="TextBox 96"/>
          <p:cNvSpPr txBox="1"/>
          <p:nvPr/>
        </p:nvSpPr>
        <p:spPr>
          <a:xfrm>
            <a:off x="3210518" y="1824291"/>
            <a:ext cx="1886556" cy="276999"/>
          </a:xfrm>
          <a:prstGeom prst="rect">
            <a:avLst/>
          </a:prstGeom>
          <a:noFill/>
        </p:spPr>
        <p:txBody>
          <a:bodyPr wrap="square" rtlCol="0">
            <a:spAutoFit/>
          </a:bodyPr>
          <a:lstStyle/>
          <a:p>
            <a:pPr algn="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Azure Data Lake</a:t>
            </a:r>
          </a:p>
        </p:txBody>
      </p:sp>
      <p:sp>
        <p:nvSpPr>
          <p:cNvPr id="98" name="TextBox 97"/>
          <p:cNvSpPr txBox="1"/>
          <p:nvPr/>
        </p:nvSpPr>
        <p:spPr>
          <a:xfrm>
            <a:off x="3194425" y="5114303"/>
            <a:ext cx="1886556" cy="461665"/>
          </a:xfrm>
          <a:prstGeom prst="rect">
            <a:avLst/>
          </a:prstGeom>
          <a:noFill/>
        </p:spPr>
        <p:txBody>
          <a:bodyPr wrap="square" rtlCol="0">
            <a:spAutoFit/>
          </a:bodyPr>
          <a:lstStyle/>
          <a:p>
            <a:pPr algn="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 Create Azure Storage</a:t>
            </a:r>
          </a:p>
          <a:p>
            <a:pPr algn="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default containers</a:t>
            </a:r>
          </a:p>
        </p:txBody>
      </p:sp>
      <p:sp>
        <p:nvSpPr>
          <p:cNvPr id="99" name="TextBox 98"/>
          <p:cNvSpPr txBox="1"/>
          <p:nvPr/>
        </p:nvSpPr>
        <p:spPr>
          <a:xfrm>
            <a:off x="2821733" y="3364480"/>
            <a:ext cx="2248506" cy="646331"/>
          </a:xfrm>
          <a:prstGeom prst="rect">
            <a:avLst/>
          </a:prstGeom>
          <a:noFill/>
        </p:spPr>
        <p:txBody>
          <a:bodyPr wrap="square" rtlCol="0">
            <a:spAutoFit/>
          </a:bodyPr>
          <a:lstStyle/>
          <a:p>
            <a:pPr algn="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Azure Key Vault</a:t>
            </a:r>
          </a:p>
          <a:p>
            <a:pPr algn="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Add Keys for new resources and based on Parameters</a:t>
            </a:r>
          </a:p>
        </p:txBody>
      </p:sp>
      <p:sp>
        <p:nvSpPr>
          <p:cNvPr id="101" name="TextBox 100"/>
          <p:cNvSpPr txBox="1"/>
          <p:nvPr/>
        </p:nvSpPr>
        <p:spPr>
          <a:xfrm>
            <a:off x="2726482" y="4204366"/>
            <a:ext cx="2334665" cy="646331"/>
          </a:xfrm>
          <a:prstGeom prst="rect">
            <a:avLst/>
          </a:prstGeom>
          <a:noFill/>
        </p:spPr>
        <p:txBody>
          <a:bodyPr wrap="square" rtlCol="0">
            <a:spAutoFit/>
          </a:bodyPr>
          <a:lstStyle/>
          <a:p>
            <a:pPr algn="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Container Instance</a:t>
            </a:r>
          </a:p>
          <a:p>
            <a:pPr algn="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Link to Storage Account</a:t>
            </a:r>
          </a:p>
          <a:p>
            <a:pPr algn="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Hosting Plan</a:t>
            </a:r>
          </a:p>
        </p:txBody>
      </p:sp>
      <p:sp>
        <p:nvSpPr>
          <p:cNvPr id="102" name="TextBox 101"/>
          <p:cNvSpPr txBox="1"/>
          <p:nvPr/>
        </p:nvSpPr>
        <p:spPr>
          <a:xfrm>
            <a:off x="6525493" y="901366"/>
            <a:ext cx="3599417" cy="461665"/>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Deploy ADF ARM Template</a:t>
            </a:r>
          </a:p>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onfigure Linked Services based on Project Prefix</a:t>
            </a:r>
          </a:p>
        </p:txBody>
      </p:sp>
      <p:sp>
        <p:nvSpPr>
          <p:cNvPr id="105" name="TextBox 104"/>
          <p:cNvSpPr txBox="1"/>
          <p:nvPr/>
        </p:nvSpPr>
        <p:spPr>
          <a:xfrm>
            <a:off x="2640157" y="2569012"/>
            <a:ext cx="2494666" cy="646331"/>
          </a:xfrm>
          <a:prstGeom prst="rect">
            <a:avLst/>
          </a:prstGeom>
          <a:noFill/>
        </p:spPr>
        <p:txBody>
          <a:bodyPr wrap="square" rtlCol="0">
            <a:spAutoFit/>
          </a:bodyPr>
          <a:lstStyle/>
          <a:p>
            <a:pPr algn="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 Create Azure SQL DB Server</a:t>
            </a:r>
          </a:p>
          <a:p>
            <a:pPr algn="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empty database for adflab</a:t>
            </a:r>
          </a:p>
          <a:p>
            <a:pPr algn="r"/>
            <a:endPar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endParaRPr>
          </a:p>
        </p:txBody>
      </p:sp>
      <p:sp>
        <p:nvSpPr>
          <p:cNvPr id="106" name="TextBox 105"/>
          <p:cNvSpPr txBox="1"/>
          <p:nvPr/>
        </p:nvSpPr>
        <p:spPr>
          <a:xfrm>
            <a:off x="6525493" y="5073553"/>
            <a:ext cx="3599417" cy="461665"/>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default folders on Azure File Storage</a:t>
            </a:r>
          </a:p>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Upload sample files for File Handling</a:t>
            </a:r>
          </a:p>
        </p:txBody>
      </p:sp>
      <p:pic>
        <p:nvPicPr>
          <p:cNvPr id="107" name="Picture 106"/>
          <p:cNvPicPr>
            <a:picLocks noChangeAspect="1"/>
          </p:cNvPicPr>
          <p:nvPr/>
        </p:nvPicPr>
        <p:blipFill>
          <a:blip r:embed="rId3"/>
          <a:stretch>
            <a:fillRect/>
          </a:stretch>
        </p:blipFill>
        <p:spPr>
          <a:xfrm>
            <a:off x="5890065" y="874098"/>
            <a:ext cx="477857" cy="577309"/>
          </a:xfrm>
          <a:prstGeom prst="rect">
            <a:avLst/>
          </a:prstGeom>
        </p:spPr>
      </p:pic>
      <p:sp>
        <p:nvSpPr>
          <p:cNvPr id="108" name="TextBox 107"/>
          <p:cNvSpPr txBox="1"/>
          <p:nvPr/>
        </p:nvSpPr>
        <p:spPr>
          <a:xfrm>
            <a:off x="6546277" y="1663815"/>
            <a:ext cx="3599417" cy="646331"/>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Azure Application, Service Principal</a:t>
            </a:r>
          </a:p>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Link App to Azure Data Lake</a:t>
            </a:r>
          </a:p>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Add Storage BLOB Data Contributor to Data Lake</a:t>
            </a:r>
          </a:p>
        </p:txBody>
      </p:sp>
      <p:sp>
        <p:nvSpPr>
          <p:cNvPr id="109" name="TextBox 108"/>
          <p:cNvSpPr txBox="1"/>
          <p:nvPr/>
        </p:nvSpPr>
        <p:spPr>
          <a:xfrm>
            <a:off x="6525493" y="2604477"/>
            <a:ext cx="3599417" cy="461665"/>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Deploy bacpac for adflab</a:t>
            </a:r>
          </a:p>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Deploy </a:t>
            </a:r>
            <a:r>
              <a:rPr lang="en-AU" sz="1200" b="1" dirty="0" err="1" smtClean="0">
                <a:solidFill>
                  <a:schemeClr val="tx1">
                    <a:lumMod val="85000"/>
                    <a:lumOff val="15000"/>
                  </a:schemeClr>
                </a:solidFill>
                <a:latin typeface="Segoe UI Light" panose="020B0502040204020203" pitchFamily="34" charset="0"/>
                <a:cs typeface="Segoe UI Light" panose="020B0502040204020203" pitchFamily="34" charset="0"/>
              </a:rPr>
              <a:t>WideWorldImporters</a:t>
            </a: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 sample database</a:t>
            </a:r>
          </a:p>
        </p:txBody>
      </p:sp>
      <p:pic>
        <p:nvPicPr>
          <p:cNvPr id="110" name="Picture 109"/>
          <p:cNvPicPr>
            <a:picLocks noChangeAspect="1"/>
          </p:cNvPicPr>
          <p:nvPr/>
        </p:nvPicPr>
        <p:blipFill>
          <a:blip r:embed="rId8"/>
          <a:stretch>
            <a:fillRect/>
          </a:stretch>
        </p:blipFill>
        <p:spPr>
          <a:xfrm>
            <a:off x="5859270" y="3456893"/>
            <a:ext cx="467070" cy="464917"/>
          </a:xfrm>
          <a:prstGeom prst="rect">
            <a:avLst/>
          </a:prstGeom>
        </p:spPr>
      </p:pic>
      <p:pic>
        <p:nvPicPr>
          <p:cNvPr id="111" name="Picture 110"/>
          <p:cNvPicPr>
            <a:picLocks noChangeAspect="1"/>
          </p:cNvPicPr>
          <p:nvPr/>
        </p:nvPicPr>
        <p:blipFill>
          <a:blip r:embed="rId14"/>
          <a:stretch>
            <a:fillRect/>
          </a:stretch>
        </p:blipFill>
        <p:spPr>
          <a:xfrm>
            <a:off x="5846635" y="2566428"/>
            <a:ext cx="492339" cy="570077"/>
          </a:xfrm>
          <a:prstGeom prst="rect">
            <a:avLst/>
          </a:prstGeom>
        </p:spPr>
      </p:pic>
      <p:sp>
        <p:nvSpPr>
          <p:cNvPr id="113" name="TextBox 112"/>
          <p:cNvSpPr txBox="1"/>
          <p:nvPr/>
        </p:nvSpPr>
        <p:spPr>
          <a:xfrm>
            <a:off x="6525493" y="3455842"/>
            <a:ext cx="3599417" cy="461665"/>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Add Access Policy for Azure App, User, Function App</a:t>
            </a:r>
          </a:p>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Add </a:t>
            </a:r>
            <a:r>
              <a:rPr lang="en-AU" sz="1200" b="1" dirty="0" err="1" smtClean="0">
                <a:solidFill>
                  <a:schemeClr val="tx1">
                    <a:lumMod val="85000"/>
                    <a:lumOff val="15000"/>
                  </a:schemeClr>
                </a:solidFill>
                <a:latin typeface="Segoe UI Light" panose="020B0502040204020203" pitchFamily="34" charset="0"/>
                <a:cs typeface="Segoe UI Light" panose="020B0502040204020203" pitchFamily="34" charset="0"/>
              </a:rPr>
              <a:t>AppId</a:t>
            </a: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 Secret to Key Vault</a:t>
            </a:r>
          </a:p>
        </p:txBody>
      </p:sp>
      <p:pic>
        <p:nvPicPr>
          <p:cNvPr id="114" name="Picture 113"/>
          <p:cNvPicPr>
            <a:picLocks noChangeAspect="1"/>
          </p:cNvPicPr>
          <p:nvPr/>
        </p:nvPicPr>
        <p:blipFill>
          <a:blip r:embed="rId15"/>
          <a:stretch>
            <a:fillRect/>
          </a:stretch>
        </p:blipFill>
        <p:spPr>
          <a:xfrm>
            <a:off x="5870981" y="4302665"/>
            <a:ext cx="467993" cy="449730"/>
          </a:xfrm>
          <a:prstGeom prst="rect">
            <a:avLst/>
          </a:prstGeom>
        </p:spPr>
      </p:pic>
      <p:sp>
        <p:nvSpPr>
          <p:cNvPr id="115" name="TextBox 114"/>
          <p:cNvSpPr txBox="1"/>
          <p:nvPr/>
        </p:nvSpPr>
        <p:spPr>
          <a:xfrm>
            <a:off x="6546277" y="4277535"/>
            <a:ext cx="3599417" cy="461665"/>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Deploy Azure Function for File Handling from Cloud Shell BLOB Storage</a:t>
            </a:r>
          </a:p>
        </p:txBody>
      </p:sp>
      <p:cxnSp>
        <p:nvCxnSpPr>
          <p:cNvPr id="3" name="Straight Connector 2"/>
          <p:cNvCxnSpPr/>
          <p:nvPr/>
        </p:nvCxnSpPr>
        <p:spPr>
          <a:xfrm>
            <a:off x="2533650" y="453469"/>
            <a:ext cx="9525" cy="599495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10267950" y="453469"/>
            <a:ext cx="0" cy="599495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208473" y="282450"/>
            <a:ext cx="1551314" cy="330072"/>
          </a:xfrm>
          <a:prstGeom prst="rect">
            <a:avLst/>
          </a:prstGeom>
          <a:solidFill>
            <a:schemeClr val="accent1"/>
          </a:solidFill>
        </p:spPr>
        <p:txBody>
          <a:bodyPr wrap="square" lIns="72000" tIns="72000" rIns="72000" bIns="72000" rtlCol="0">
            <a:spAutoFit/>
          </a:bodyPr>
          <a:lstStyle/>
          <a:p>
            <a:pPr algn="ctr"/>
            <a:r>
              <a:rPr lang="en-AU" sz="1200" b="1" dirty="0" smtClean="0">
                <a:solidFill>
                  <a:schemeClr val="bg1"/>
                </a:solidFill>
                <a:latin typeface="Segoe UI Light" panose="020B0502040204020203" pitchFamily="34" charset="0"/>
                <a:cs typeface="Segoe UI Light" panose="020B0502040204020203" pitchFamily="34" charset="0"/>
              </a:rPr>
              <a:t>GitHub repository</a:t>
            </a:r>
            <a:endParaRPr lang="en-AU" sz="1200" b="1" dirty="0">
              <a:solidFill>
                <a:schemeClr val="bg1"/>
              </a:solidFill>
              <a:latin typeface="Segoe UI Light" panose="020B0502040204020203" pitchFamily="34" charset="0"/>
              <a:cs typeface="Segoe UI Light" panose="020B0502040204020203" pitchFamily="34" charset="0"/>
            </a:endParaRPr>
          </a:p>
        </p:txBody>
      </p:sp>
      <p:cxnSp>
        <p:nvCxnSpPr>
          <p:cNvPr id="5" name="Straight Arrow Connector 4"/>
          <p:cNvCxnSpPr>
            <a:stCxn id="78" idx="2"/>
            <a:endCxn id="79" idx="0"/>
          </p:cNvCxnSpPr>
          <p:nvPr/>
        </p:nvCxnSpPr>
        <p:spPr>
          <a:xfrm flipH="1">
            <a:off x="954832" y="1751899"/>
            <a:ext cx="306" cy="145361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a:stCxn id="79" idx="3"/>
          </p:cNvCxnSpPr>
          <p:nvPr/>
        </p:nvCxnSpPr>
        <p:spPr>
          <a:xfrm flipV="1">
            <a:off x="1284215" y="3455841"/>
            <a:ext cx="1116085" cy="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1098013" y="2277332"/>
            <a:ext cx="440657" cy="439949"/>
          </a:xfrm>
          <a:prstGeom prst="ellipse">
            <a:avLst/>
          </a:prstGeom>
          <a:solidFill>
            <a:srgbClr val="92D05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AU" dirty="0" smtClean="0">
                <a:solidFill>
                  <a:schemeClr val="bg1"/>
                </a:solidFill>
                <a:latin typeface="Arial Black" panose="020B0A04020102020204" pitchFamily="34" charset="0"/>
              </a:rPr>
              <a:t>1</a:t>
            </a:r>
            <a:endParaRPr lang="en-AU" dirty="0">
              <a:solidFill>
                <a:schemeClr val="bg1"/>
              </a:solidFill>
              <a:latin typeface="Arial Black" panose="020B0A04020102020204" pitchFamily="34" charset="0"/>
            </a:endParaRPr>
          </a:p>
        </p:txBody>
      </p:sp>
      <p:sp>
        <p:nvSpPr>
          <p:cNvPr id="54" name="Oval 53"/>
          <p:cNvSpPr/>
          <p:nvPr/>
        </p:nvSpPr>
        <p:spPr>
          <a:xfrm>
            <a:off x="11031444" y="2310146"/>
            <a:ext cx="440657" cy="439949"/>
          </a:xfrm>
          <a:prstGeom prst="ellipse">
            <a:avLst/>
          </a:prstGeom>
          <a:solidFill>
            <a:srgbClr val="92D05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AU" dirty="0" smtClean="0">
                <a:solidFill>
                  <a:schemeClr val="bg1"/>
                </a:solidFill>
                <a:latin typeface="Arial Black" panose="020B0A04020102020204" pitchFamily="34" charset="0"/>
              </a:rPr>
              <a:t>2</a:t>
            </a:r>
            <a:endParaRPr lang="en-AU" dirty="0">
              <a:solidFill>
                <a:schemeClr val="bg1"/>
              </a:solidFill>
              <a:latin typeface="Arial Black" panose="020B0A04020102020204" pitchFamily="34" charset="0"/>
            </a:endParaRPr>
          </a:p>
        </p:txBody>
      </p:sp>
      <p:sp>
        <p:nvSpPr>
          <p:cNvPr id="55" name="TextBox 54"/>
          <p:cNvSpPr txBox="1"/>
          <p:nvPr/>
        </p:nvSpPr>
        <p:spPr>
          <a:xfrm>
            <a:off x="95089" y="3918699"/>
            <a:ext cx="2202170" cy="646331"/>
          </a:xfrm>
          <a:prstGeom prst="rect">
            <a:avLst/>
          </a:prstGeom>
          <a:noFill/>
        </p:spPr>
        <p:txBody>
          <a:bodyPr wrap="square" rtlCol="0">
            <a:spAutoFit/>
          </a:bodyPr>
          <a:lstStyle/>
          <a:p>
            <a:pPr algn="ctr"/>
            <a:r>
              <a:rPr lang="en-AU" sz="1200" b="1" dirty="0" smtClean="0">
                <a:solidFill>
                  <a:schemeClr val="tx1">
                    <a:lumMod val="50000"/>
                    <a:lumOff val="50000"/>
                  </a:schemeClr>
                </a:solidFill>
                <a:latin typeface="Segoe UI Light" panose="020B0502040204020203" pitchFamily="34" charset="0"/>
                <a:cs typeface="Segoe UI Light" panose="020B0502040204020203" pitchFamily="34" charset="0"/>
              </a:rPr>
              <a:t>Click Deploy to Azure button on GitHub to deploy resources on Azure using ARM template</a:t>
            </a:r>
          </a:p>
        </p:txBody>
      </p:sp>
      <p:sp>
        <p:nvSpPr>
          <p:cNvPr id="57" name="TextBox 56"/>
          <p:cNvSpPr txBox="1"/>
          <p:nvPr/>
        </p:nvSpPr>
        <p:spPr>
          <a:xfrm>
            <a:off x="10214165" y="4092400"/>
            <a:ext cx="1873059" cy="646331"/>
          </a:xfrm>
          <a:prstGeom prst="rect">
            <a:avLst/>
          </a:prstGeom>
          <a:noFill/>
        </p:spPr>
        <p:txBody>
          <a:bodyPr wrap="square" rtlCol="0">
            <a:spAutoFit/>
          </a:bodyPr>
          <a:lstStyle/>
          <a:p>
            <a:pPr algn="ctr"/>
            <a:r>
              <a:rPr lang="en-AU" sz="1200" b="1" dirty="0" smtClean="0">
                <a:solidFill>
                  <a:schemeClr val="tx1">
                    <a:lumMod val="50000"/>
                    <a:lumOff val="50000"/>
                  </a:schemeClr>
                </a:solidFill>
                <a:latin typeface="Segoe UI Light" panose="020B0502040204020203" pitchFamily="34" charset="0"/>
                <a:cs typeface="Segoe UI Light" panose="020B0502040204020203" pitchFamily="34" charset="0"/>
              </a:rPr>
              <a:t>Deploy ADF ARM Template, database and configure resources</a:t>
            </a:r>
          </a:p>
        </p:txBody>
      </p:sp>
      <p:sp>
        <p:nvSpPr>
          <p:cNvPr id="61" name="TextBox 60"/>
          <p:cNvSpPr txBox="1"/>
          <p:nvPr/>
        </p:nvSpPr>
        <p:spPr>
          <a:xfrm>
            <a:off x="10410991" y="2932335"/>
            <a:ext cx="1551314" cy="330072"/>
          </a:xfrm>
          <a:prstGeom prst="rect">
            <a:avLst/>
          </a:prstGeom>
          <a:solidFill>
            <a:schemeClr val="accent1"/>
          </a:solidFill>
        </p:spPr>
        <p:txBody>
          <a:bodyPr wrap="square" lIns="72000" tIns="72000" rIns="72000" bIns="72000" rtlCol="0">
            <a:spAutoFit/>
          </a:bodyPr>
          <a:lstStyle/>
          <a:p>
            <a:pPr algn="ctr"/>
            <a:r>
              <a:rPr lang="en-AU" sz="1200" b="1" dirty="0" smtClean="0">
                <a:solidFill>
                  <a:schemeClr val="bg1"/>
                </a:solidFill>
                <a:latin typeface="Segoe UI Light" panose="020B0502040204020203" pitchFamily="34" charset="0"/>
                <a:cs typeface="Segoe UI Light" panose="020B0502040204020203" pitchFamily="34" charset="0"/>
              </a:rPr>
              <a:t>Cloud Shell CLI</a:t>
            </a:r>
            <a:endParaRPr lang="en-AU" sz="1200" b="1" dirty="0">
              <a:solidFill>
                <a:schemeClr val="bg1"/>
              </a:solidFill>
              <a:latin typeface="Segoe UI Light" panose="020B0502040204020203" pitchFamily="34" charset="0"/>
              <a:cs typeface="Segoe UI Light" panose="020B0502040204020203" pitchFamily="34" charset="0"/>
            </a:endParaRPr>
          </a:p>
        </p:txBody>
      </p:sp>
      <p:cxnSp>
        <p:nvCxnSpPr>
          <p:cNvPr id="21" name="Straight Arrow Connector 20"/>
          <p:cNvCxnSpPr>
            <a:stCxn id="76" idx="1"/>
          </p:cNvCxnSpPr>
          <p:nvPr/>
        </p:nvCxnSpPr>
        <p:spPr>
          <a:xfrm flipH="1" flipV="1">
            <a:off x="10342888" y="3601585"/>
            <a:ext cx="921068" cy="1542"/>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172128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Picture 67"/>
          <p:cNvPicPr>
            <a:picLocks noChangeAspect="1"/>
          </p:cNvPicPr>
          <p:nvPr/>
        </p:nvPicPr>
        <p:blipFill>
          <a:blip r:embed="rId2"/>
          <a:stretch>
            <a:fillRect/>
          </a:stretch>
        </p:blipFill>
        <p:spPr>
          <a:xfrm>
            <a:off x="5286524" y="1818719"/>
            <a:ext cx="477857" cy="577309"/>
          </a:xfrm>
          <a:prstGeom prst="rect">
            <a:avLst/>
          </a:prstGeom>
        </p:spPr>
      </p:pic>
      <p:pic>
        <p:nvPicPr>
          <p:cNvPr id="69" name="Picture 68"/>
          <p:cNvPicPr>
            <a:picLocks noChangeAspect="1"/>
          </p:cNvPicPr>
          <p:nvPr/>
        </p:nvPicPr>
        <p:blipFill>
          <a:blip r:embed="rId3"/>
          <a:stretch>
            <a:fillRect/>
          </a:stretch>
        </p:blipFill>
        <p:spPr>
          <a:xfrm>
            <a:off x="5937036" y="814466"/>
            <a:ext cx="535263" cy="493281"/>
          </a:xfrm>
          <a:prstGeom prst="rect">
            <a:avLst/>
          </a:prstGeom>
        </p:spPr>
      </p:pic>
      <p:sp>
        <p:nvSpPr>
          <p:cNvPr id="94" name="TextBox 93"/>
          <p:cNvSpPr txBox="1"/>
          <p:nvPr/>
        </p:nvSpPr>
        <p:spPr>
          <a:xfrm>
            <a:off x="2851128" y="1832660"/>
            <a:ext cx="2340657" cy="646331"/>
          </a:xfrm>
          <a:prstGeom prst="rect">
            <a:avLst/>
          </a:prstGeom>
          <a:noFill/>
        </p:spPr>
        <p:txBody>
          <a:bodyPr wrap="square" rtlCol="0">
            <a:spAutoFit/>
          </a:bodyPr>
          <a:lstStyle/>
          <a:p>
            <a:pPr algn="r"/>
            <a:r>
              <a:rPr lang="en-AU" sz="1200" b="1" dirty="0">
                <a:latin typeface="Segoe UI Light" panose="020B0502040204020203" pitchFamily="34" charset="0"/>
                <a:cs typeface="Segoe UI Light" panose="020B0502040204020203" pitchFamily="34" charset="0"/>
              </a:rPr>
              <a:t>Update Access Policy on KeyVault for ADF using Cloud Shell PowerShell</a:t>
            </a:r>
          </a:p>
        </p:txBody>
      </p:sp>
      <p:sp>
        <p:nvSpPr>
          <p:cNvPr id="102" name="TextBox 101"/>
          <p:cNvSpPr txBox="1"/>
          <p:nvPr/>
        </p:nvSpPr>
        <p:spPr>
          <a:xfrm>
            <a:off x="6543819" y="687438"/>
            <a:ext cx="3599417" cy="830997"/>
          </a:xfrm>
          <a:prstGeom prst="rect">
            <a:avLst/>
          </a:prstGeom>
          <a:noFill/>
        </p:spPr>
        <p:txBody>
          <a:bodyPr wrap="square" rtlCol="0">
            <a:spAutoFit/>
          </a:bodyPr>
          <a:lstStyle/>
          <a:p>
            <a:r>
              <a:rPr lang="en-AU" sz="1200" b="1" dirty="0">
                <a:solidFill>
                  <a:schemeClr val="tx1">
                    <a:lumMod val="85000"/>
                    <a:lumOff val="15000"/>
                  </a:schemeClr>
                </a:solidFill>
                <a:latin typeface="Segoe UI Light" panose="020B0502040204020203" pitchFamily="34" charset="0"/>
                <a:cs typeface="Segoe UI Light" panose="020B0502040204020203" pitchFamily="34" charset="0"/>
              </a:rPr>
              <a:t>Create and update Secret Token</a:t>
            </a:r>
          </a:p>
          <a:p>
            <a:r>
              <a:rPr lang="en-AU" sz="1200" b="1" dirty="0">
                <a:solidFill>
                  <a:schemeClr val="tx1">
                    <a:lumMod val="85000"/>
                    <a:lumOff val="15000"/>
                  </a:schemeClr>
                </a:solidFill>
                <a:latin typeface="Segoe UI Light" panose="020B0502040204020203" pitchFamily="34" charset="0"/>
                <a:cs typeface="Segoe UI Light" panose="020B0502040204020203" pitchFamily="34" charset="0"/>
              </a:rPr>
              <a:t>Import notebook from </a:t>
            </a: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GitHub</a:t>
            </a:r>
            <a:endParaRPr lang="en-AU" sz="1200" b="1" dirty="0">
              <a:solidFill>
                <a:schemeClr val="tx1">
                  <a:lumMod val="85000"/>
                  <a:lumOff val="15000"/>
                </a:schemeClr>
              </a:solidFill>
              <a:latin typeface="Segoe UI Light" panose="020B0502040204020203" pitchFamily="34" charset="0"/>
              <a:cs typeface="Segoe UI Light" panose="020B0502040204020203" pitchFamily="34" charset="0"/>
            </a:endParaRPr>
          </a:p>
          <a:p>
            <a:r>
              <a:rPr lang="en-AU" sz="1200" b="1" dirty="0">
                <a:solidFill>
                  <a:schemeClr val="tx1">
                    <a:lumMod val="85000"/>
                    <a:lumOff val="15000"/>
                  </a:schemeClr>
                </a:solidFill>
                <a:latin typeface="Segoe UI Light" panose="020B0502040204020203" pitchFamily="34" charset="0"/>
                <a:cs typeface="Segoe UI Light" panose="020B0502040204020203" pitchFamily="34" charset="0"/>
              </a:rPr>
              <a:t>Create Cluster </a:t>
            </a:r>
          </a:p>
          <a:p>
            <a:r>
              <a:rPr lang="en-AU" sz="1200" b="1" dirty="0">
                <a:solidFill>
                  <a:schemeClr val="tx1">
                    <a:lumMod val="85000"/>
                    <a:lumOff val="15000"/>
                  </a:schemeClr>
                </a:solidFill>
                <a:latin typeface="Segoe UI Light" panose="020B0502040204020203" pitchFamily="34" charset="0"/>
                <a:cs typeface="Segoe UI Light" panose="020B0502040204020203" pitchFamily="34" charset="0"/>
              </a:rPr>
              <a:t>Create Scope for Key Vault</a:t>
            </a:r>
          </a:p>
        </p:txBody>
      </p:sp>
      <p:sp>
        <p:nvSpPr>
          <p:cNvPr id="109" name="TextBox 108"/>
          <p:cNvSpPr txBox="1"/>
          <p:nvPr/>
        </p:nvSpPr>
        <p:spPr>
          <a:xfrm>
            <a:off x="6668533" y="3069680"/>
            <a:ext cx="3599417" cy="276999"/>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Add Firewall with IP Address</a:t>
            </a:r>
          </a:p>
        </p:txBody>
      </p:sp>
      <p:pic>
        <p:nvPicPr>
          <p:cNvPr id="110" name="Picture 109"/>
          <p:cNvPicPr>
            <a:picLocks noChangeAspect="1"/>
          </p:cNvPicPr>
          <p:nvPr/>
        </p:nvPicPr>
        <p:blipFill>
          <a:blip r:embed="rId4"/>
          <a:stretch>
            <a:fillRect/>
          </a:stretch>
        </p:blipFill>
        <p:spPr>
          <a:xfrm>
            <a:off x="5993611" y="4994136"/>
            <a:ext cx="467070" cy="464917"/>
          </a:xfrm>
          <a:prstGeom prst="rect">
            <a:avLst/>
          </a:prstGeom>
        </p:spPr>
      </p:pic>
      <p:pic>
        <p:nvPicPr>
          <p:cNvPr id="111" name="Picture 110"/>
          <p:cNvPicPr>
            <a:picLocks noChangeAspect="1"/>
          </p:cNvPicPr>
          <p:nvPr/>
        </p:nvPicPr>
        <p:blipFill>
          <a:blip r:embed="rId5"/>
          <a:stretch>
            <a:fillRect/>
          </a:stretch>
        </p:blipFill>
        <p:spPr>
          <a:xfrm>
            <a:off x="5976731" y="2886124"/>
            <a:ext cx="492339" cy="570077"/>
          </a:xfrm>
          <a:prstGeom prst="rect">
            <a:avLst/>
          </a:prstGeom>
        </p:spPr>
      </p:pic>
      <p:sp>
        <p:nvSpPr>
          <p:cNvPr id="113" name="TextBox 112"/>
          <p:cNvSpPr txBox="1"/>
          <p:nvPr/>
        </p:nvSpPr>
        <p:spPr>
          <a:xfrm>
            <a:off x="6668534" y="5046087"/>
            <a:ext cx="3242584" cy="461665"/>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Add Databricks Token to </a:t>
            </a: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KeyVault</a:t>
            </a:r>
          </a:p>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Add File Service Azure Function Key to KeyVault</a:t>
            </a:r>
            <a:endPar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endParaRPr>
          </a:p>
        </p:txBody>
      </p:sp>
      <p:cxnSp>
        <p:nvCxnSpPr>
          <p:cNvPr id="3" name="Straight Connector 2"/>
          <p:cNvCxnSpPr/>
          <p:nvPr/>
        </p:nvCxnSpPr>
        <p:spPr>
          <a:xfrm>
            <a:off x="2533650" y="453469"/>
            <a:ext cx="9525" cy="599495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10267950" y="453469"/>
            <a:ext cx="0" cy="599495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510953" y="2390448"/>
            <a:ext cx="1753678" cy="330072"/>
          </a:xfrm>
          <a:prstGeom prst="rect">
            <a:avLst/>
          </a:prstGeom>
          <a:solidFill>
            <a:schemeClr val="accent1"/>
          </a:solidFill>
        </p:spPr>
        <p:txBody>
          <a:bodyPr wrap="square" lIns="72000" tIns="72000" rIns="72000" bIns="72000" rtlCol="0">
            <a:spAutoFit/>
          </a:bodyPr>
          <a:lstStyle/>
          <a:p>
            <a:pPr algn="ctr"/>
            <a:r>
              <a:rPr lang="en-AU" sz="1200" b="1" dirty="0" smtClean="0">
                <a:solidFill>
                  <a:schemeClr val="bg1"/>
                </a:solidFill>
                <a:latin typeface="Segoe UI Light" panose="020B0502040204020203" pitchFamily="34" charset="0"/>
                <a:cs typeface="Segoe UI Light" panose="020B0502040204020203" pitchFamily="34" charset="0"/>
              </a:rPr>
              <a:t>Cloud Shell PowerShell</a:t>
            </a:r>
            <a:endParaRPr lang="en-AU" sz="1200" b="1" dirty="0">
              <a:solidFill>
                <a:schemeClr val="bg1"/>
              </a:solidFill>
              <a:latin typeface="Segoe UI Light" panose="020B0502040204020203" pitchFamily="34" charset="0"/>
              <a:cs typeface="Segoe UI Light" panose="020B0502040204020203" pitchFamily="34" charset="0"/>
            </a:endParaRPr>
          </a:p>
        </p:txBody>
      </p:sp>
      <p:cxnSp>
        <p:nvCxnSpPr>
          <p:cNvPr id="7" name="Straight Arrow Connector 6"/>
          <p:cNvCxnSpPr>
            <a:stCxn id="46" idx="3"/>
          </p:cNvCxnSpPr>
          <p:nvPr/>
        </p:nvCxnSpPr>
        <p:spPr>
          <a:xfrm>
            <a:off x="1096237" y="3112996"/>
            <a:ext cx="1182362" cy="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1303695" y="1818719"/>
            <a:ext cx="440657" cy="439949"/>
          </a:xfrm>
          <a:prstGeom prst="ellipse">
            <a:avLst/>
          </a:prstGeom>
          <a:solidFill>
            <a:srgbClr val="92D05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AU" dirty="0" smtClean="0">
                <a:solidFill>
                  <a:schemeClr val="bg1"/>
                </a:solidFill>
                <a:latin typeface="Arial Black" panose="020B0A04020102020204" pitchFamily="34" charset="0"/>
              </a:rPr>
              <a:t>3</a:t>
            </a:r>
            <a:endParaRPr lang="en-AU" dirty="0">
              <a:solidFill>
                <a:schemeClr val="bg1"/>
              </a:solidFill>
              <a:latin typeface="Arial Black" panose="020B0A04020102020204" pitchFamily="34" charset="0"/>
            </a:endParaRPr>
          </a:p>
        </p:txBody>
      </p:sp>
      <p:sp>
        <p:nvSpPr>
          <p:cNvPr id="54" name="Oval 53"/>
          <p:cNvSpPr/>
          <p:nvPr/>
        </p:nvSpPr>
        <p:spPr>
          <a:xfrm>
            <a:off x="11075618" y="1810437"/>
            <a:ext cx="440657" cy="439949"/>
          </a:xfrm>
          <a:prstGeom prst="ellipse">
            <a:avLst/>
          </a:prstGeom>
          <a:solidFill>
            <a:srgbClr val="92D05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AU" dirty="0" smtClean="0">
                <a:solidFill>
                  <a:schemeClr val="bg1"/>
                </a:solidFill>
                <a:latin typeface="Arial Black" panose="020B0A04020102020204" pitchFamily="34" charset="0"/>
              </a:rPr>
              <a:t>4</a:t>
            </a:r>
            <a:endParaRPr lang="en-AU" dirty="0">
              <a:solidFill>
                <a:schemeClr val="bg1"/>
              </a:solidFill>
              <a:latin typeface="Arial Black" panose="020B0A04020102020204" pitchFamily="34" charset="0"/>
            </a:endParaRPr>
          </a:p>
        </p:txBody>
      </p:sp>
      <p:sp>
        <p:nvSpPr>
          <p:cNvPr id="61" name="TextBox 60"/>
          <p:cNvSpPr txBox="1"/>
          <p:nvPr/>
        </p:nvSpPr>
        <p:spPr>
          <a:xfrm>
            <a:off x="10392665" y="2390448"/>
            <a:ext cx="1551314" cy="330072"/>
          </a:xfrm>
          <a:prstGeom prst="rect">
            <a:avLst/>
          </a:prstGeom>
          <a:solidFill>
            <a:schemeClr val="accent1"/>
          </a:solidFill>
        </p:spPr>
        <p:txBody>
          <a:bodyPr wrap="square" lIns="72000" tIns="72000" rIns="72000" bIns="72000" rtlCol="0">
            <a:spAutoFit/>
          </a:bodyPr>
          <a:lstStyle/>
          <a:p>
            <a:pPr algn="ctr"/>
            <a:r>
              <a:rPr lang="en-AU" sz="1200" b="1" dirty="0" smtClean="0">
                <a:solidFill>
                  <a:schemeClr val="bg1"/>
                </a:solidFill>
                <a:latin typeface="Segoe UI Light" panose="020B0502040204020203" pitchFamily="34" charset="0"/>
                <a:cs typeface="Segoe UI Light" panose="020B0502040204020203" pitchFamily="34" charset="0"/>
              </a:rPr>
              <a:t>Manual Updates</a:t>
            </a:r>
            <a:endParaRPr lang="en-AU" sz="1200" b="1" dirty="0">
              <a:solidFill>
                <a:schemeClr val="bg1"/>
              </a:solidFill>
              <a:latin typeface="Segoe UI Light" panose="020B0502040204020203" pitchFamily="34" charset="0"/>
              <a:cs typeface="Segoe UI Light" panose="020B0502040204020203" pitchFamily="34" charset="0"/>
            </a:endParaRPr>
          </a:p>
        </p:txBody>
      </p:sp>
      <p:pic>
        <p:nvPicPr>
          <p:cNvPr id="46" name="Picture 45"/>
          <p:cNvPicPr>
            <a:picLocks noChangeAspect="1"/>
          </p:cNvPicPr>
          <p:nvPr/>
        </p:nvPicPr>
        <p:blipFill>
          <a:blip r:embed="rId6"/>
          <a:stretch>
            <a:fillRect/>
          </a:stretch>
        </p:blipFill>
        <p:spPr>
          <a:xfrm>
            <a:off x="596386" y="2927445"/>
            <a:ext cx="499851" cy="371102"/>
          </a:xfrm>
          <a:prstGeom prst="rect">
            <a:avLst/>
          </a:prstGeom>
        </p:spPr>
      </p:pic>
      <p:pic>
        <p:nvPicPr>
          <p:cNvPr id="49" name="Picture 48"/>
          <p:cNvPicPr>
            <a:picLocks noChangeAspect="1"/>
          </p:cNvPicPr>
          <p:nvPr/>
        </p:nvPicPr>
        <p:blipFill>
          <a:blip r:embed="rId2"/>
          <a:stretch>
            <a:fillRect/>
          </a:stretch>
        </p:blipFill>
        <p:spPr>
          <a:xfrm>
            <a:off x="5962253" y="1818719"/>
            <a:ext cx="477857" cy="577309"/>
          </a:xfrm>
          <a:prstGeom prst="rect">
            <a:avLst/>
          </a:prstGeom>
        </p:spPr>
      </p:pic>
      <p:sp>
        <p:nvSpPr>
          <p:cNvPr id="50" name="TextBox 49"/>
          <p:cNvSpPr txBox="1"/>
          <p:nvPr/>
        </p:nvSpPr>
        <p:spPr>
          <a:xfrm>
            <a:off x="6591329" y="1876540"/>
            <a:ext cx="3104026" cy="461665"/>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Update Linked Service for File Storage, Azure Function, Databricks</a:t>
            </a:r>
            <a:endParaRPr lang="en-AU" sz="1200" b="1" dirty="0">
              <a:solidFill>
                <a:schemeClr val="tx1">
                  <a:lumMod val="85000"/>
                  <a:lumOff val="15000"/>
                </a:schemeClr>
              </a:solidFill>
              <a:latin typeface="Segoe UI Light" panose="020B0502040204020203" pitchFamily="34" charset="0"/>
              <a:cs typeface="Segoe UI Light" panose="020B0502040204020203" pitchFamily="34" charset="0"/>
            </a:endParaRPr>
          </a:p>
        </p:txBody>
      </p:sp>
      <p:pic>
        <p:nvPicPr>
          <p:cNvPr id="51" name="Picture 50"/>
          <p:cNvPicPr>
            <a:picLocks noChangeAspect="1"/>
          </p:cNvPicPr>
          <p:nvPr/>
        </p:nvPicPr>
        <p:blipFill rotWithShape="1">
          <a:blip r:embed="rId7"/>
          <a:srcRect r="4035"/>
          <a:stretch/>
        </p:blipFill>
        <p:spPr>
          <a:xfrm>
            <a:off x="5962253" y="3843562"/>
            <a:ext cx="558496" cy="665118"/>
          </a:xfrm>
          <a:prstGeom prst="rect">
            <a:avLst/>
          </a:prstGeom>
        </p:spPr>
      </p:pic>
      <p:sp>
        <p:nvSpPr>
          <p:cNvPr id="52" name="TextBox 51"/>
          <p:cNvSpPr txBox="1"/>
          <p:nvPr/>
        </p:nvSpPr>
        <p:spPr>
          <a:xfrm>
            <a:off x="6668534" y="3941484"/>
            <a:ext cx="3344366" cy="461665"/>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Use PowerShell to update the Integration Runtime with Key from Data Factory</a:t>
            </a:r>
          </a:p>
        </p:txBody>
      </p:sp>
      <p:pic>
        <p:nvPicPr>
          <p:cNvPr id="53" name="Picture 52"/>
          <p:cNvPicPr>
            <a:picLocks noChangeAspect="1"/>
          </p:cNvPicPr>
          <p:nvPr/>
        </p:nvPicPr>
        <p:blipFill>
          <a:blip r:embed="rId8"/>
          <a:stretch>
            <a:fillRect/>
          </a:stretch>
        </p:blipFill>
        <p:spPr>
          <a:xfrm>
            <a:off x="6034130" y="5794793"/>
            <a:ext cx="512491" cy="394446"/>
          </a:xfrm>
          <a:prstGeom prst="rect">
            <a:avLst/>
          </a:prstGeom>
        </p:spPr>
      </p:pic>
      <p:sp>
        <p:nvSpPr>
          <p:cNvPr id="56" name="TextBox 55"/>
          <p:cNvSpPr txBox="1"/>
          <p:nvPr/>
        </p:nvSpPr>
        <p:spPr>
          <a:xfrm>
            <a:off x="6668534" y="5782873"/>
            <a:ext cx="3132692" cy="461665"/>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Map Disk on Local Computer to allow files to be uploaded to Azure File Storage</a:t>
            </a:r>
          </a:p>
        </p:txBody>
      </p:sp>
      <p:pic>
        <p:nvPicPr>
          <p:cNvPr id="58" name="Picture 57"/>
          <p:cNvPicPr>
            <a:picLocks noChangeAspect="1"/>
          </p:cNvPicPr>
          <p:nvPr/>
        </p:nvPicPr>
        <p:blipFill>
          <a:blip r:embed="rId9"/>
          <a:stretch>
            <a:fillRect/>
          </a:stretch>
        </p:blipFill>
        <p:spPr>
          <a:xfrm>
            <a:off x="10972639" y="2860582"/>
            <a:ext cx="680937" cy="695197"/>
          </a:xfrm>
          <a:prstGeom prst="rect">
            <a:avLst/>
          </a:prstGeom>
        </p:spPr>
      </p:pic>
      <p:cxnSp>
        <p:nvCxnSpPr>
          <p:cNvPr id="6" name="Straight Arrow Connector 5"/>
          <p:cNvCxnSpPr>
            <a:stCxn id="58" idx="1"/>
          </p:cNvCxnSpPr>
          <p:nvPr/>
        </p:nvCxnSpPr>
        <p:spPr>
          <a:xfrm flipH="1" flipV="1">
            <a:off x="10392665" y="3208180"/>
            <a:ext cx="579974" cy="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679736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546822" y="2029866"/>
            <a:ext cx="803836" cy="740789"/>
          </a:xfrm>
          <a:prstGeom prst="rect">
            <a:avLst/>
          </a:prstGeom>
        </p:spPr>
      </p:pic>
      <p:pic>
        <p:nvPicPr>
          <p:cNvPr id="5" name="Picture 4"/>
          <p:cNvPicPr>
            <a:picLocks noChangeAspect="1"/>
          </p:cNvPicPr>
          <p:nvPr/>
        </p:nvPicPr>
        <p:blipFill>
          <a:blip r:embed="rId3"/>
          <a:stretch>
            <a:fillRect/>
          </a:stretch>
        </p:blipFill>
        <p:spPr>
          <a:xfrm>
            <a:off x="10222263" y="4766952"/>
            <a:ext cx="555226" cy="552667"/>
          </a:xfrm>
          <a:prstGeom prst="rect">
            <a:avLst/>
          </a:prstGeom>
        </p:spPr>
      </p:pic>
      <p:pic>
        <p:nvPicPr>
          <p:cNvPr id="6" name="Picture 5"/>
          <p:cNvPicPr>
            <a:picLocks noChangeAspect="1"/>
          </p:cNvPicPr>
          <p:nvPr/>
        </p:nvPicPr>
        <p:blipFill>
          <a:blip r:embed="rId4"/>
          <a:stretch>
            <a:fillRect/>
          </a:stretch>
        </p:blipFill>
        <p:spPr>
          <a:xfrm>
            <a:off x="1710854" y="4788560"/>
            <a:ext cx="455643" cy="550471"/>
          </a:xfrm>
          <a:prstGeom prst="rect">
            <a:avLst/>
          </a:prstGeom>
        </p:spPr>
      </p:pic>
      <p:pic>
        <p:nvPicPr>
          <p:cNvPr id="7" name="Picture 6"/>
          <p:cNvPicPr>
            <a:picLocks noChangeAspect="1"/>
          </p:cNvPicPr>
          <p:nvPr/>
        </p:nvPicPr>
        <p:blipFill>
          <a:blip r:embed="rId5"/>
          <a:stretch>
            <a:fillRect/>
          </a:stretch>
        </p:blipFill>
        <p:spPr>
          <a:xfrm>
            <a:off x="7734723" y="4778758"/>
            <a:ext cx="575095" cy="553069"/>
          </a:xfrm>
          <a:prstGeom prst="rect">
            <a:avLst/>
          </a:prstGeom>
        </p:spPr>
      </p:pic>
      <p:pic>
        <p:nvPicPr>
          <p:cNvPr id="8" name="Picture 7"/>
          <p:cNvPicPr>
            <a:picLocks noChangeAspect="1"/>
          </p:cNvPicPr>
          <p:nvPr/>
        </p:nvPicPr>
        <p:blipFill>
          <a:blip r:embed="rId6"/>
          <a:stretch>
            <a:fillRect/>
          </a:stretch>
        </p:blipFill>
        <p:spPr>
          <a:xfrm>
            <a:off x="6127517" y="2057253"/>
            <a:ext cx="527270" cy="686017"/>
          </a:xfrm>
          <a:prstGeom prst="rect">
            <a:avLst/>
          </a:prstGeom>
        </p:spPr>
      </p:pic>
      <p:pic>
        <p:nvPicPr>
          <p:cNvPr id="9" name="Picture 8"/>
          <p:cNvPicPr>
            <a:picLocks noChangeAspect="1"/>
          </p:cNvPicPr>
          <p:nvPr/>
        </p:nvPicPr>
        <p:blipFill>
          <a:blip r:embed="rId7"/>
          <a:stretch>
            <a:fillRect/>
          </a:stretch>
        </p:blipFill>
        <p:spPr>
          <a:xfrm>
            <a:off x="6073360" y="395271"/>
            <a:ext cx="606263" cy="551644"/>
          </a:xfrm>
          <a:prstGeom prst="rect">
            <a:avLst/>
          </a:prstGeom>
        </p:spPr>
      </p:pic>
      <p:pic>
        <p:nvPicPr>
          <p:cNvPr id="10" name="Picture 9"/>
          <p:cNvPicPr>
            <a:picLocks noChangeAspect="1"/>
          </p:cNvPicPr>
          <p:nvPr/>
        </p:nvPicPr>
        <p:blipFill>
          <a:blip r:embed="rId8"/>
          <a:stretch>
            <a:fillRect/>
          </a:stretch>
        </p:blipFill>
        <p:spPr>
          <a:xfrm>
            <a:off x="6161119" y="1219522"/>
            <a:ext cx="551041" cy="573083"/>
          </a:xfrm>
          <a:prstGeom prst="rect">
            <a:avLst/>
          </a:prstGeom>
        </p:spPr>
      </p:pic>
      <p:cxnSp>
        <p:nvCxnSpPr>
          <p:cNvPr id="13" name="Straight Arrow Connector 12"/>
          <p:cNvCxnSpPr>
            <a:stCxn id="4" idx="3"/>
            <a:endCxn id="8" idx="1"/>
          </p:cNvCxnSpPr>
          <p:nvPr/>
        </p:nvCxnSpPr>
        <p:spPr>
          <a:xfrm>
            <a:off x="2350658" y="2400261"/>
            <a:ext cx="377685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4" idx="0"/>
            <a:endCxn id="9" idx="1"/>
          </p:cNvCxnSpPr>
          <p:nvPr/>
        </p:nvCxnSpPr>
        <p:spPr>
          <a:xfrm rot="5400000" flipH="1" flipV="1">
            <a:off x="3331664" y="-711830"/>
            <a:ext cx="1358773" cy="412462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23"/>
          <p:cNvCxnSpPr>
            <a:stCxn id="4" idx="0"/>
            <a:endCxn id="10" idx="1"/>
          </p:cNvCxnSpPr>
          <p:nvPr/>
        </p:nvCxnSpPr>
        <p:spPr>
          <a:xfrm rot="5400000" flipH="1" flipV="1">
            <a:off x="3793028" y="-338224"/>
            <a:ext cx="523802" cy="421237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Elbow Connector 26"/>
          <p:cNvCxnSpPr>
            <a:stCxn id="10" idx="3"/>
            <a:endCxn id="5" idx="0"/>
          </p:cNvCxnSpPr>
          <p:nvPr/>
        </p:nvCxnSpPr>
        <p:spPr>
          <a:xfrm>
            <a:off x="6712160" y="1506064"/>
            <a:ext cx="3787716" cy="326088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3060539" y="2047396"/>
            <a:ext cx="2139778" cy="276999"/>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Import or Create Notebooks</a:t>
            </a:r>
          </a:p>
        </p:txBody>
      </p:sp>
      <p:sp>
        <p:nvSpPr>
          <p:cNvPr id="71" name="TextBox 70"/>
          <p:cNvSpPr txBox="1"/>
          <p:nvPr/>
        </p:nvSpPr>
        <p:spPr>
          <a:xfrm>
            <a:off x="3070330" y="295664"/>
            <a:ext cx="2912676" cy="276999"/>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Scope with reference to Key Vault</a:t>
            </a:r>
          </a:p>
        </p:txBody>
      </p:sp>
      <p:sp>
        <p:nvSpPr>
          <p:cNvPr id="76" name="TextBox 75"/>
          <p:cNvSpPr txBox="1"/>
          <p:nvPr/>
        </p:nvSpPr>
        <p:spPr>
          <a:xfrm>
            <a:off x="3070330" y="1172503"/>
            <a:ext cx="1623664" cy="276999"/>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a Token</a:t>
            </a:r>
          </a:p>
        </p:txBody>
      </p:sp>
      <p:sp>
        <p:nvSpPr>
          <p:cNvPr id="77" name="TextBox 76"/>
          <p:cNvSpPr txBox="1"/>
          <p:nvPr/>
        </p:nvSpPr>
        <p:spPr>
          <a:xfrm>
            <a:off x="7552667" y="1125152"/>
            <a:ext cx="2236976"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Add Security Token to Key Vault</a:t>
            </a:r>
          </a:p>
        </p:txBody>
      </p:sp>
      <p:cxnSp>
        <p:nvCxnSpPr>
          <p:cNvPr id="81" name="Elbow Connector 80"/>
          <p:cNvCxnSpPr>
            <a:stCxn id="8" idx="2"/>
            <a:endCxn id="7" idx="0"/>
          </p:cNvCxnSpPr>
          <p:nvPr/>
        </p:nvCxnSpPr>
        <p:spPr>
          <a:xfrm rot="16200000" flipH="1">
            <a:off x="6188967" y="2945454"/>
            <a:ext cx="2035488" cy="163111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9026359" y="5348834"/>
            <a:ext cx="2832266" cy="830997"/>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With Scope reference and Access Token Databricks gets added to Key Vault Access Policies and is able to retrieve secrets from Key Vault</a:t>
            </a:r>
          </a:p>
        </p:txBody>
      </p:sp>
      <p:pic>
        <p:nvPicPr>
          <p:cNvPr id="110" name="Picture 109"/>
          <p:cNvPicPr>
            <a:picLocks noChangeAspect="1"/>
          </p:cNvPicPr>
          <p:nvPr/>
        </p:nvPicPr>
        <p:blipFill>
          <a:blip r:embed="rId9"/>
          <a:stretch>
            <a:fillRect/>
          </a:stretch>
        </p:blipFill>
        <p:spPr>
          <a:xfrm>
            <a:off x="6172904" y="4752173"/>
            <a:ext cx="560717" cy="596661"/>
          </a:xfrm>
          <a:prstGeom prst="rect">
            <a:avLst/>
          </a:prstGeom>
        </p:spPr>
      </p:pic>
      <p:cxnSp>
        <p:nvCxnSpPr>
          <p:cNvPr id="144" name="Straight Arrow Connector 143"/>
          <p:cNvCxnSpPr>
            <a:stCxn id="7" idx="1"/>
            <a:endCxn id="110" idx="3"/>
          </p:cNvCxnSpPr>
          <p:nvPr/>
        </p:nvCxnSpPr>
        <p:spPr>
          <a:xfrm flipH="1" flipV="1">
            <a:off x="6733621" y="5050504"/>
            <a:ext cx="1001102" cy="47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6" name="Elbow Connector 175"/>
          <p:cNvCxnSpPr>
            <a:stCxn id="5" idx="1"/>
            <a:endCxn id="8" idx="3"/>
          </p:cNvCxnSpPr>
          <p:nvPr/>
        </p:nvCxnSpPr>
        <p:spPr>
          <a:xfrm rot="10800000">
            <a:off x="6654787" y="2400262"/>
            <a:ext cx="3567476" cy="2643024"/>
          </a:xfrm>
          <a:prstGeom prst="bentConnector3">
            <a:avLst>
              <a:gd name="adj1" fmla="val 6480"/>
            </a:avLst>
          </a:prstGeom>
          <a:ln>
            <a:tailEnd type="triangle"/>
          </a:ln>
        </p:spPr>
        <p:style>
          <a:lnRef idx="1">
            <a:schemeClr val="accent1"/>
          </a:lnRef>
          <a:fillRef idx="0">
            <a:schemeClr val="accent1"/>
          </a:fillRef>
          <a:effectRef idx="0">
            <a:schemeClr val="accent1"/>
          </a:effectRef>
          <a:fontRef idx="minor">
            <a:schemeClr val="tx1"/>
          </a:fontRef>
        </p:style>
      </p:cxnSp>
      <p:pic>
        <p:nvPicPr>
          <p:cNvPr id="183" name="Picture 182"/>
          <p:cNvPicPr>
            <a:picLocks noChangeAspect="1"/>
          </p:cNvPicPr>
          <p:nvPr/>
        </p:nvPicPr>
        <p:blipFill>
          <a:blip r:embed="rId10"/>
          <a:stretch>
            <a:fillRect/>
          </a:stretch>
        </p:blipFill>
        <p:spPr>
          <a:xfrm>
            <a:off x="4307499" y="4778757"/>
            <a:ext cx="492339" cy="570077"/>
          </a:xfrm>
          <a:prstGeom prst="rect">
            <a:avLst/>
          </a:prstGeom>
        </p:spPr>
      </p:pic>
      <p:cxnSp>
        <p:nvCxnSpPr>
          <p:cNvPr id="189" name="Elbow Connector 188"/>
          <p:cNvCxnSpPr>
            <a:stCxn id="8" idx="2"/>
            <a:endCxn id="183" idx="0"/>
          </p:cNvCxnSpPr>
          <p:nvPr/>
        </p:nvCxnSpPr>
        <p:spPr>
          <a:xfrm rot="5400000">
            <a:off x="4454668" y="2842272"/>
            <a:ext cx="2035487" cy="183748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07" name="TextBox 206"/>
          <p:cNvSpPr txBox="1"/>
          <p:nvPr/>
        </p:nvSpPr>
        <p:spPr>
          <a:xfrm>
            <a:off x="5964717" y="5420989"/>
            <a:ext cx="2538909" cy="646331"/>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Databricks Notebook passes the App ID and Key retrieved from Key Vault to Azure App to access Data Lake</a:t>
            </a:r>
          </a:p>
        </p:txBody>
      </p:sp>
      <p:sp>
        <p:nvSpPr>
          <p:cNvPr id="208" name="TextBox 207"/>
          <p:cNvSpPr txBox="1"/>
          <p:nvPr/>
        </p:nvSpPr>
        <p:spPr>
          <a:xfrm>
            <a:off x="3486662" y="5420989"/>
            <a:ext cx="2139778" cy="646331"/>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SQL Server Credential retrieved from Key Vault from Databricks Notebook</a:t>
            </a:r>
          </a:p>
        </p:txBody>
      </p:sp>
      <p:cxnSp>
        <p:nvCxnSpPr>
          <p:cNvPr id="239" name="Elbow Connector 238"/>
          <p:cNvCxnSpPr>
            <a:stCxn id="9" idx="3"/>
            <a:endCxn id="5" idx="0"/>
          </p:cNvCxnSpPr>
          <p:nvPr/>
        </p:nvCxnSpPr>
        <p:spPr>
          <a:xfrm>
            <a:off x="6679623" y="671093"/>
            <a:ext cx="3820253" cy="4095859"/>
          </a:xfrm>
          <a:prstGeom prst="bentConnector2">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53" name="Oval 252"/>
          <p:cNvSpPr/>
          <p:nvPr/>
        </p:nvSpPr>
        <p:spPr>
          <a:xfrm>
            <a:off x="2749864" y="2056658"/>
            <a:ext cx="297459" cy="270616"/>
          </a:xfrm>
          <a:prstGeom prst="ellipse">
            <a:avLst/>
          </a:prstGeom>
          <a:solidFill>
            <a:srgbClr val="92D05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AU" sz="1200" dirty="0" smtClean="0">
                <a:solidFill>
                  <a:schemeClr val="bg1"/>
                </a:solidFill>
                <a:latin typeface="Arial Black" panose="020B0A04020102020204" pitchFamily="34" charset="0"/>
              </a:rPr>
              <a:t>4</a:t>
            </a:r>
            <a:endParaRPr lang="en-AU" dirty="0">
              <a:solidFill>
                <a:schemeClr val="bg1"/>
              </a:solidFill>
              <a:latin typeface="Arial Black" panose="020B0A04020102020204" pitchFamily="34" charset="0"/>
            </a:endParaRPr>
          </a:p>
        </p:txBody>
      </p:sp>
      <p:sp>
        <p:nvSpPr>
          <p:cNvPr id="254" name="Oval 253"/>
          <p:cNvSpPr/>
          <p:nvPr/>
        </p:nvSpPr>
        <p:spPr>
          <a:xfrm>
            <a:off x="2775757" y="304619"/>
            <a:ext cx="297459" cy="270616"/>
          </a:xfrm>
          <a:prstGeom prst="ellipse">
            <a:avLst/>
          </a:prstGeom>
          <a:solidFill>
            <a:srgbClr val="92D05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AU" sz="1200" dirty="0" smtClean="0">
                <a:solidFill>
                  <a:schemeClr val="bg1"/>
                </a:solidFill>
                <a:latin typeface="Arial Black" panose="020B0A04020102020204" pitchFamily="34" charset="0"/>
              </a:rPr>
              <a:t>1</a:t>
            </a:r>
            <a:endParaRPr lang="en-AU" dirty="0">
              <a:solidFill>
                <a:schemeClr val="bg1"/>
              </a:solidFill>
              <a:latin typeface="Arial Black" panose="020B0A04020102020204" pitchFamily="34" charset="0"/>
            </a:endParaRPr>
          </a:p>
        </p:txBody>
      </p:sp>
      <p:sp>
        <p:nvSpPr>
          <p:cNvPr id="255" name="Oval 254"/>
          <p:cNvSpPr/>
          <p:nvPr/>
        </p:nvSpPr>
        <p:spPr>
          <a:xfrm>
            <a:off x="2754848" y="1138287"/>
            <a:ext cx="297459" cy="270616"/>
          </a:xfrm>
          <a:prstGeom prst="ellipse">
            <a:avLst/>
          </a:prstGeom>
          <a:solidFill>
            <a:srgbClr val="92D05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AU" sz="1200" dirty="0" smtClean="0">
                <a:solidFill>
                  <a:schemeClr val="bg1"/>
                </a:solidFill>
                <a:latin typeface="Arial Black" panose="020B0A04020102020204" pitchFamily="34" charset="0"/>
              </a:rPr>
              <a:t>2</a:t>
            </a:r>
            <a:endParaRPr lang="en-AU" dirty="0">
              <a:solidFill>
                <a:schemeClr val="bg1"/>
              </a:solidFill>
              <a:latin typeface="Arial Black" panose="020B0A04020102020204" pitchFamily="34" charset="0"/>
            </a:endParaRPr>
          </a:p>
        </p:txBody>
      </p:sp>
      <p:sp>
        <p:nvSpPr>
          <p:cNvPr id="259" name="Oval 258"/>
          <p:cNvSpPr/>
          <p:nvPr/>
        </p:nvSpPr>
        <p:spPr>
          <a:xfrm>
            <a:off x="7255208" y="1133504"/>
            <a:ext cx="297459" cy="270616"/>
          </a:xfrm>
          <a:prstGeom prst="ellipse">
            <a:avLst/>
          </a:prstGeom>
          <a:solidFill>
            <a:srgbClr val="92D05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AU" sz="1200" dirty="0" smtClean="0">
                <a:solidFill>
                  <a:schemeClr val="bg1"/>
                </a:solidFill>
                <a:latin typeface="Arial Black" panose="020B0A04020102020204" pitchFamily="34" charset="0"/>
              </a:rPr>
              <a:t>3</a:t>
            </a:r>
            <a:endParaRPr lang="en-AU" dirty="0">
              <a:solidFill>
                <a:schemeClr val="bg1"/>
              </a:solidFill>
              <a:latin typeface="Arial Black" panose="020B0A04020102020204" pitchFamily="34" charset="0"/>
            </a:endParaRPr>
          </a:p>
        </p:txBody>
      </p:sp>
      <p:cxnSp>
        <p:nvCxnSpPr>
          <p:cNvPr id="273" name="Straight Connector 272"/>
          <p:cNvCxnSpPr/>
          <p:nvPr/>
        </p:nvCxnSpPr>
        <p:spPr>
          <a:xfrm>
            <a:off x="231611" y="4219331"/>
            <a:ext cx="11830493" cy="51738"/>
          </a:xfrm>
          <a:prstGeom prst="line">
            <a:avLst/>
          </a:prstGeom>
          <a:ln w="25400">
            <a:solidFill>
              <a:srgbClr val="7030A0"/>
            </a:solidFill>
            <a:prstDash val="dash"/>
          </a:ln>
        </p:spPr>
        <p:style>
          <a:lnRef idx="1">
            <a:schemeClr val="accent1"/>
          </a:lnRef>
          <a:fillRef idx="0">
            <a:schemeClr val="accent1"/>
          </a:fillRef>
          <a:effectRef idx="0">
            <a:schemeClr val="accent1"/>
          </a:effectRef>
          <a:fontRef idx="minor">
            <a:schemeClr val="tx1"/>
          </a:fontRef>
        </p:style>
      </p:cxnSp>
      <p:grpSp>
        <p:nvGrpSpPr>
          <p:cNvPr id="319" name="Group 318"/>
          <p:cNvGrpSpPr/>
          <p:nvPr/>
        </p:nvGrpSpPr>
        <p:grpSpPr>
          <a:xfrm>
            <a:off x="231611" y="4347931"/>
            <a:ext cx="1284145" cy="283583"/>
            <a:chOff x="231611" y="4002873"/>
            <a:chExt cx="1284145" cy="283583"/>
          </a:xfrm>
        </p:grpSpPr>
        <p:pic>
          <p:nvPicPr>
            <p:cNvPr id="11" name="Picture 10"/>
            <p:cNvPicPr>
              <a:picLocks noChangeAspect="1"/>
            </p:cNvPicPr>
            <p:nvPr/>
          </p:nvPicPr>
          <p:blipFill>
            <a:blip r:embed="rId11"/>
            <a:stretch>
              <a:fillRect/>
            </a:stretch>
          </p:blipFill>
          <p:spPr>
            <a:xfrm>
              <a:off x="231611" y="4002873"/>
              <a:ext cx="334223" cy="283583"/>
            </a:xfrm>
            <a:prstGeom prst="rect">
              <a:avLst/>
            </a:prstGeom>
          </p:spPr>
        </p:pic>
        <p:sp>
          <p:nvSpPr>
            <p:cNvPr id="275" name="TextBox 274">
              <a:extLst>
                <a:ext uri="{FF2B5EF4-FFF2-40B4-BE49-F238E27FC236}">
                  <a16:creationId xmlns:a16="http://schemas.microsoft.com/office/drawing/2014/main" id="{BDFA829C-BD11-444D-B043-86602DE4F646}"/>
                </a:ext>
              </a:extLst>
            </p:cNvPr>
            <p:cNvSpPr txBox="1"/>
            <p:nvPr/>
          </p:nvSpPr>
          <p:spPr>
            <a:xfrm>
              <a:off x="654532" y="4029463"/>
              <a:ext cx="861224" cy="197762"/>
            </a:xfrm>
            <a:prstGeom prst="rect">
              <a:avLst/>
            </a:prstGeom>
            <a:noFill/>
          </p:spPr>
          <p:txBody>
            <a:bodyPr vert="horz" wrap="square" lIns="0" tIns="0" rIns="91440" bIns="45720" rtlCol="0">
              <a:normAutofit/>
            </a:bodyPr>
            <a:lstStyle/>
            <a:p>
              <a:r>
                <a:rPr lang="en-AU" sz="900" b="1" dirty="0" smtClean="0">
                  <a:latin typeface="+mj-lt"/>
                </a:rPr>
                <a:t>Azure</a:t>
              </a:r>
              <a:endParaRPr lang="en-AU" sz="900" b="1" dirty="0">
                <a:latin typeface="+mj-lt"/>
              </a:endParaRPr>
            </a:p>
          </p:txBody>
        </p:sp>
      </p:grpSp>
      <p:grpSp>
        <p:nvGrpSpPr>
          <p:cNvPr id="318" name="Group 317"/>
          <p:cNvGrpSpPr/>
          <p:nvPr/>
        </p:nvGrpSpPr>
        <p:grpSpPr>
          <a:xfrm>
            <a:off x="216728" y="3830529"/>
            <a:ext cx="1302935" cy="315749"/>
            <a:chOff x="216728" y="3485471"/>
            <a:chExt cx="1302935" cy="315749"/>
          </a:xfrm>
        </p:grpSpPr>
        <p:pic>
          <p:nvPicPr>
            <p:cNvPr id="274" name="Picture 273"/>
            <p:cNvPicPr>
              <a:picLocks noChangeAspect="1"/>
            </p:cNvPicPr>
            <p:nvPr/>
          </p:nvPicPr>
          <p:blipFill>
            <a:blip r:embed="rId2"/>
            <a:stretch>
              <a:fillRect/>
            </a:stretch>
          </p:blipFill>
          <p:spPr>
            <a:xfrm>
              <a:off x="216728" y="3485471"/>
              <a:ext cx="338489" cy="311940"/>
            </a:xfrm>
            <a:prstGeom prst="rect">
              <a:avLst/>
            </a:prstGeom>
          </p:spPr>
        </p:pic>
        <p:sp>
          <p:nvSpPr>
            <p:cNvPr id="276" name="TextBox 275">
              <a:extLst>
                <a:ext uri="{FF2B5EF4-FFF2-40B4-BE49-F238E27FC236}">
                  <a16:creationId xmlns:a16="http://schemas.microsoft.com/office/drawing/2014/main" id="{BDFA829C-BD11-444D-B043-86602DE4F646}"/>
                </a:ext>
              </a:extLst>
            </p:cNvPr>
            <p:cNvSpPr txBox="1"/>
            <p:nvPr/>
          </p:nvSpPr>
          <p:spPr>
            <a:xfrm>
              <a:off x="658439" y="3603458"/>
              <a:ext cx="861224" cy="197762"/>
            </a:xfrm>
            <a:prstGeom prst="rect">
              <a:avLst/>
            </a:prstGeom>
            <a:noFill/>
          </p:spPr>
          <p:txBody>
            <a:bodyPr vert="horz" wrap="square" lIns="0" tIns="0" rIns="91440" bIns="45720" rtlCol="0">
              <a:normAutofit/>
            </a:bodyPr>
            <a:lstStyle/>
            <a:p>
              <a:r>
                <a:rPr lang="en-AU" sz="900" b="1" dirty="0" smtClean="0">
                  <a:latin typeface="+mj-lt"/>
                </a:rPr>
                <a:t>Databricks</a:t>
              </a:r>
              <a:endParaRPr lang="en-AU" sz="900" b="1" dirty="0">
                <a:latin typeface="+mj-lt"/>
              </a:endParaRPr>
            </a:p>
          </p:txBody>
        </p:sp>
      </p:grpSp>
      <p:sp>
        <p:nvSpPr>
          <p:cNvPr id="277" name="TextBox 276"/>
          <p:cNvSpPr txBox="1"/>
          <p:nvPr/>
        </p:nvSpPr>
        <p:spPr>
          <a:xfrm>
            <a:off x="783508" y="5473787"/>
            <a:ext cx="2130940" cy="461665"/>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Azure Data Factory calls Databricks Notebook</a:t>
            </a:r>
          </a:p>
        </p:txBody>
      </p:sp>
      <p:cxnSp>
        <p:nvCxnSpPr>
          <p:cNvPr id="293" name="Straight Arrow Connector 292"/>
          <p:cNvCxnSpPr>
            <a:stCxn id="6" idx="0"/>
            <a:endCxn id="4" idx="2"/>
          </p:cNvCxnSpPr>
          <p:nvPr/>
        </p:nvCxnSpPr>
        <p:spPr>
          <a:xfrm flipV="1">
            <a:off x="1938676" y="2770655"/>
            <a:ext cx="10064" cy="20179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7136671" y="1972227"/>
            <a:ext cx="2410886" cy="461665"/>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Databricks Notebook retrieves secret from Azure Key Vault</a:t>
            </a:r>
          </a:p>
        </p:txBody>
      </p:sp>
      <p:pic>
        <p:nvPicPr>
          <p:cNvPr id="299" name="Picture 298"/>
          <p:cNvPicPr>
            <a:picLocks noChangeAspect="1"/>
          </p:cNvPicPr>
          <p:nvPr/>
        </p:nvPicPr>
        <p:blipFill>
          <a:blip r:embed="rId12"/>
          <a:stretch>
            <a:fillRect/>
          </a:stretch>
        </p:blipFill>
        <p:spPr>
          <a:xfrm>
            <a:off x="5102085" y="3064489"/>
            <a:ext cx="452459" cy="379868"/>
          </a:xfrm>
          <a:prstGeom prst="rect">
            <a:avLst/>
          </a:prstGeom>
        </p:spPr>
      </p:pic>
      <p:cxnSp>
        <p:nvCxnSpPr>
          <p:cNvPr id="313" name="Elbow Connector 312"/>
          <p:cNvCxnSpPr>
            <a:stCxn id="4" idx="2"/>
            <a:endCxn id="299" idx="1"/>
          </p:cNvCxnSpPr>
          <p:nvPr/>
        </p:nvCxnSpPr>
        <p:spPr>
          <a:xfrm rot="16200000" flipH="1">
            <a:off x="3283528" y="1435866"/>
            <a:ext cx="483768" cy="315334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316" name="TextBox 315"/>
          <p:cNvSpPr txBox="1"/>
          <p:nvPr/>
        </p:nvSpPr>
        <p:spPr>
          <a:xfrm>
            <a:off x="3075567" y="2910109"/>
            <a:ext cx="2139778" cy="276999"/>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Databricks Cluster</a:t>
            </a:r>
          </a:p>
        </p:txBody>
      </p:sp>
      <p:sp>
        <p:nvSpPr>
          <p:cNvPr id="317" name="Oval 316"/>
          <p:cNvSpPr/>
          <p:nvPr/>
        </p:nvSpPr>
        <p:spPr>
          <a:xfrm>
            <a:off x="2746862" y="2918500"/>
            <a:ext cx="297459" cy="270616"/>
          </a:xfrm>
          <a:prstGeom prst="ellipse">
            <a:avLst/>
          </a:prstGeom>
          <a:solidFill>
            <a:srgbClr val="92D05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AU" sz="1200" dirty="0" smtClean="0">
                <a:solidFill>
                  <a:schemeClr val="bg1"/>
                </a:solidFill>
                <a:latin typeface="Arial Black" panose="020B0A04020102020204" pitchFamily="34" charset="0"/>
              </a:rPr>
              <a:t>5</a:t>
            </a:r>
            <a:endParaRPr lang="en-AU" dirty="0">
              <a:solidFill>
                <a:schemeClr val="bg1"/>
              </a:solidFill>
              <a:latin typeface="Arial Black" panose="020B0A04020102020204" pitchFamily="34" charset="0"/>
            </a:endParaRPr>
          </a:p>
        </p:txBody>
      </p:sp>
      <p:pic>
        <p:nvPicPr>
          <p:cNvPr id="322" name="Picture 321"/>
          <p:cNvPicPr>
            <a:picLocks noChangeAspect="1"/>
          </p:cNvPicPr>
          <p:nvPr/>
        </p:nvPicPr>
        <p:blipFill>
          <a:blip r:embed="rId2"/>
          <a:stretch>
            <a:fillRect/>
          </a:stretch>
        </p:blipFill>
        <p:spPr>
          <a:xfrm>
            <a:off x="2749864" y="4905552"/>
            <a:ext cx="338489" cy="311940"/>
          </a:xfrm>
          <a:prstGeom prst="rect">
            <a:avLst/>
          </a:prstGeom>
        </p:spPr>
      </p:pic>
      <p:cxnSp>
        <p:nvCxnSpPr>
          <p:cNvPr id="324" name="Straight Arrow Connector 323"/>
          <p:cNvCxnSpPr>
            <a:stCxn id="6" idx="3"/>
            <a:endCxn id="322" idx="1"/>
          </p:cNvCxnSpPr>
          <p:nvPr/>
        </p:nvCxnSpPr>
        <p:spPr>
          <a:xfrm flipV="1">
            <a:off x="2166497" y="5061522"/>
            <a:ext cx="583367" cy="22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7" name="TextBox 326"/>
          <p:cNvSpPr txBox="1"/>
          <p:nvPr/>
        </p:nvSpPr>
        <p:spPr>
          <a:xfrm>
            <a:off x="2466192" y="4486712"/>
            <a:ext cx="1685560" cy="461665"/>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Update Linked Service with Token and Cluster</a:t>
            </a:r>
          </a:p>
        </p:txBody>
      </p:sp>
      <p:sp>
        <p:nvSpPr>
          <p:cNvPr id="328" name="Oval 327"/>
          <p:cNvSpPr/>
          <p:nvPr/>
        </p:nvSpPr>
        <p:spPr>
          <a:xfrm>
            <a:off x="2197894" y="4503815"/>
            <a:ext cx="297459" cy="270616"/>
          </a:xfrm>
          <a:prstGeom prst="ellipse">
            <a:avLst/>
          </a:prstGeom>
          <a:solidFill>
            <a:srgbClr val="92D05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AU" sz="1200" dirty="0" smtClean="0">
                <a:solidFill>
                  <a:schemeClr val="bg1"/>
                </a:solidFill>
                <a:latin typeface="Arial Black" panose="020B0A04020102020204" pitchFamily="34" charset="0"/>
              </a:rPr>
              <a:t>5</a:t>
            </a:r>
            <a:endParaRPr lang="en-AU" dirty="0">
              <a:solidFill>
                <a:schemeClr val="bg1"/>
              </a:solidFill>
              <a:latin typeface="Arial Black" panose="020B0A04020102020204" pitchFamily="34" charset="0"/>
            </a:endParaRPr>
          </a:p>
        </p:txBody>
      </p:sp>
      <p:sp>
        <p:nvSpPr>
          <p:cNvPr id="58" name="TextBox 57">
            <a:extLst>
              <a:ext uri="{FF2B5EF4-FFF2-40B4-BE49-F238E27FC236}">
                <a16:creationId xmlns:a16="http://schemas.microsoft.com/office/drawing/2014/main" id="{BDFA829C-BD11-444D-B043-86602DE4F646}"/>
              </a:ext>
            </a:extLst>
          </p:cNvPr>
          <p:cNvSpPr txBox="1"/>
          <p:nvPr/>
        </p:nvSpPr>
        <p:spPr>
          <a:xfrm>
            <a:off x="5617263" y="2809402"/>
            <a:ext cx="1519408" cy="276876"/>
          </a:xfrm>
          <a:prstGeom prst="rect">
            <a:avLst/>
          </a:prstGeom>
          <a:solidFill>
            <a:schemeClr val="accent1">
              <a:lumMod val="60000"/>
              <a:lumOff val="40000"/>
            </a:schemeClr>
          </a:solidFill>
        </p:spPr>
        <p:txBody>
          <a:bodyPr vert="horz" wrap="square" lIns="36000" tIns="36000" rIns="36000" bIns="36000" rtlCol="0">
            <a:noAutofit/>
          </a:bodyPr>
          <a:lstStyle/>
          <a:p>
            <a:pPr algn="ctr"/>
            <a:r>
              <a:rPr lang="en-AU" sz="1100" b="1" dirty="0" smtClean="0">
                <a:solidFill>
                  <a:schemeClr val="bg1"/>
                </a:solidFill>
                <a:latin typeface="+mj-lt"/>
              </a:rPr>
              <a:t>Databricks Notebook</a:t>
            </a:r>
            <a:endParaRPr lang="en-AU" sz="1100" b="1" dirty="0">
              <a:solidFill>
                <a:schemeClr val="bg1"/>
              </a:solidFill>
              <a:latin typeface="+mj-lt"/>
            </a:endParaRPr>
          </a:p>
        </p:txBody>
      </p:sp>
    </p:spTree>
    <p:extLst>
      <p:ext uri="{BB962C8B-B14F-4D97-AF65-F5344CB8AC3E}">
        <p14:creationId xmlns:p14="http://schemas.microsoft.com/office/powerpoint/2010/main" val="288962927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flipH="1">
            <a:off x="1000426" y="2885944"/>
            <a:ext cx="668568" cy="658663"/>
          </a:xfrm>
          <a:prstGeom prst="rect">
            <a:avLst/>
          </a:prstGeom>
        </p:spPr>
      </p:pic>
      <p:sp>
        <p:nvSpPr>
          <p:cNvPr id="7" name="TextBox 6"/>
          <p:cNvSpPr txBox="1"/>
          <p:nvPr/>
        </p:nvSpPr>
        <p:spPr>
          <a:xfrm>
            <a:off x="884769" y="3544607"/>
            <a:ext cx="899882"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ountry</a:t>
            </a:r>
          </a:p>
        </p:txBody>
      </p:sp>
      <p:pic>
        <p:nvPicPr>
          <p:cNvPr id="8" name="Picture 7"/>
          <p:cNvPicPr>
            <a:picLocks noChangeAspect="1"/>
          </p:cNvPicPr>
          <p:nvPr/>
        </p:nvPicPr>
        <p:blipFill>
          <a:blip r:embed="rId2"/>
          <a:stretch>
            <a:fillRect/>
          </a:stretch>
        </p:blipFill>
        <p:spPr>
          <a:xfrm flipH="1">
            <a:off x="2073234" y="2885944"/>
            <a:ext cx="668568" cy="658663"/>
          </a:xfrm>
          <a:prstGeom prst="rect">
            <a:avLst/>
          </a:prstGeom>
        </p:spPr>
      </p:pic>
      <p:sp>
        <p:nvSpPr>
          <p:cNvPr id="9" name="TextBox 8"/>
          <p:cNvSpPr txBox="1"/>
          <p:nvPr/>
        </p:nvSpPr>
        <p:spPr>
          <a:xfrm>
            <a:off x="1957577" y="3544607"/>
            <a:ext cx="899882"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State</a:t>
            </a:r>
          </a:p>
        </p:txBody>
      </p:sp>
      <p:pic>
        <p:nvPicPr>
          <p:cNvPr id="10" name="Picture 9"/>
          <p:cNvPicPr>
            <a:picLocks noChangeAspect="1"/>
          </p:cNvPicPr>
          <p:nvPr/>
        </p:nvPicPr>
        <p:blipFill>
          <a:blip r:embed="rId2"/>
          <a:stretch>
            <a:fillRect/>
          </a:stretch>
        </p:blipFill>
        <p:spPr>
          <a:xfrm flipH="1">
            <a:off x="3168806" y="2885944"/>
            <a:ext cx="668568" cy="658663"/>
          </a:xfrm>
          <a:prstGeom prst="rect">
            <a:avLst/>
          </a:prstGeom>
        </p:spPr>
      </p:pic>
      <p:sp>
        <p:nvSpPr>
          <p:cNvPr id="11" name="TextBox 10"/>
          <p:cNvSpPr txBox="1"/>
          <p:nvPr/>
        </p:nvSpPr>
        <p:spPr>
          <a:xfrm>
            <a:off x="3053149" y="3544607"/>
            <a:ext cx="899882"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ity</a:t>
            </a:r>
          </a:p>
        </p:txBody>
      </p:sp>
      <p:pic>
        <p:nvPicPr>
          <p:cNvPr id="30" name="Picture 29"/>
          <p:cNvPicPr>
            <a:picLocks noChangeAspect="1"/>
          </p:cNvPicPr>
          <p:nvPr/>
        </p:nvPicPr>
        <p:blipFill>
          <a:blip r:embed="rId2"/>
          <a:stretch>
            <a:fillRect/>
          </a:stretch>
        </p:blipFill>
        <p:spPr>
          <a:xfrm flipH="1">
            <a:off x="9333310" y="2386171"/>
            <a:ext cx="1316438" cy="1296935"/>
          </a:xfrm>
          <a:prstGeom prst="rect">
            <a:avLst/>
          </a:prstGeom>
        </p:spPr>
      </p:pic>
      <p:sp>
        <p:nvSpPr>
          <p:cNvPr id="31" name="TextBox 30"/>
          <p:cNvSpPr txBox="1"/>
          <p:nvPr/>
        </p:nvSpPr>
        <p:spPr>
          <a:xfrm>
            <a:off x="9513794" y="3693302"/>
            <a:ext cx="899882"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Purchases</a:t>
            </a:r>
          </a:p>
        </p:txBody>
      </p:sp>
      <p:pic>
        <p:nvPicPr>
          <p:cNvPr id="32" name="Picture 31"/>
          <p:cNvPicPr>
            <a:picLocks noChangeAspect="1"/>
          </p:cNvPicPr>
          <p:nvPr/>
        </p:nvPicPr>
        <p:blipFill>
          <a:blip r:embed="rId2"/>
          <a:stretch>
            <a:fillRect/>
          </a:stretch>
        </p:blipFill>
        <p:spPr>
          <a:xfrm flipH="1">
            <a:off x="9513794" y="4369322"/>
            <a:ext cx="992503" cy="977799"/>
          </a:xfrm>
          <a:prstGeom prst="rect">
            <a:avLst/>
          </a:prstGeom>
        </p:spPr>
      </p:pic>
      <p:sp>
        <p:nvSpPr>
          <p:cNvPr id="33" name="TextBox 32"/>
          <p:cNvSpPr txBox="1"/>
          <p:nvPr/>
        </p:nvSpPr>
        <p:spPr>
          <a:xfrm>
            <a:off x="9462055" y="5347121"/>
            <a:ext cx="1095983"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Sales</a:t>
            </a:r>
          </a:p>
        </p:txBody>
      </p:sp>
      <p:cxnSp>
        <p:nvCxnSpPr>
          <p:cNvPr id="35" name="Straight Arrow Connector 34"/>
          <p:cNvCxnSpPr>
            <a:stCxn id="5" idx="1"/>
            <a:endCxn id="8" idx="3"/>
          </p:cNvCxnSpPr>
          <p:nvPr/>
        </p:nvCxnSpPr>
        <p:spPr>
          <a:xfrm>
            <a:off x="1668994" y="3215276"/>
            <a:ext cx="4042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8" idx="1"/>
            <a:endCxn id="10" idx="3"/>
          </p:cNvCxnSpPr>
          <p:nvPr/>
        </p:nvCxnSpPr>
        <p:spPr>
          <a:xfrm>
            <a:off x="2741802" y="3215276"/>
            <a:ext cx="42700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1208650" y="2028781"/>
            <a:ext cx="2662765" cy="461665"/>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Dataset with Dependencies. Load sequentially one after another</a:t>
            </a:r>
          </a:p>
        </p:txBody>
      </p:sp>
      <p:grpSp>
        <p:nvGrpSpPr>
          <p:cNvPr id="45" name="Group 44"/>
          <p:cNvGrpSpPr/>
          <p:nvPr/>
        </p:nvGrpSpPr>
        <p:grpSpPr>
          <a:xfrm>
            <a:off x="4827816" y="693260"/>
            <a:ext cx="2911999" cy="5702694"/>
            <a:chOff x="3898107" y="594589"/>
            <a:chExt cx="2911999" cy="5702694"/>
          </a:xfrm>
        </p:grpSpPr>
        <p:pic>
          <p:nvPicPr>
            <p:cNvPr id="14" name="Picture 13"/>
            <p:cNvPicPr>
              <a:picLocks noChangeAspect="1"/>
            </p:cNvPicPr>
            <p:nvPr/>
          </p:nvPicPr>
          <p:blipFill>
            <a:blip r:embed="rId2"/>
            <a:stretch>
              <a:fillRect/>
            </a:stretch>
          </p:blipFill>
          <p:spPr>
            <a:xfrm flipH="1">
              <a:off x="5064174" y="1224501"/>
              <a:ext cx="668568" cy="658663"/>
            </a:xfrm>
            <a:prstGeom prst="rect">
              <a:avLst/>
            </a:prstGeom>
          </p:spPr>
        </p:pic>
        <p:sp>
          <p:nvSpPr>
            <p:cNvPr id="15" name="TextBox 14"/>
            <p:cNvSpPr txBox="1"/>
            <p:nvPr/>
          </p:nvSpPr>
          <p:spPr>
            <a:xfrm>
              <a:off x="4948517" y="1883164"/>
              <a:ext cx="899882"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Product</a:t>
              </a:r>
            </a:p>
          </p:txBody>
        </p:sp>
        <p:pic>
          <p:nvPicPr>
            <p:cNvPr id="16" name="Picture 15"/>
            <p:cNvPicPr>
              <a:picLocks noChangeAspect="1"/>
            </p:cNvPicPr>
            <p:nvPr/>
          </p:nvPicPr>
          <p:blipFill>
            <a:blip r:embed="rId2"/>
            <a:stretch>
              <a:fillRect/>
            </a:stretch>
          </p:blipFill>
          <p:spPr>
            <a:xfrm flipH="1">
              <a:off x="5064175" y="2496656"/>
              <a:ext cx="668568" cy="658663"/>
            </a:xfrm>
            <a:prstGeom prst="rect">
              <a:avLst/>
            </a:prstGeom>
          </p:spPr>
        </p:pic>
        <p:sp>
          <p:nvSpPr>
            <p:cNvPr id="17" name="TextBox 16"/>
            <p:cNvSpPr txBox="1"/>
            <p:nvPr/>
          </p:nvSpPr>
          <p:spPr>
            <a:xfrm>
              <a:off x="4948518" y="3155319"/>
              <a:ext cx="899882"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ustomer</a:t>
              </a:r>
            </a:p>
          </p:txBody>
        </p:sp>
        <p:pic>
          <p:nvPicPr>
            <p:cNvPr id="18" name="Picture 17"/>
            <p:cNvPicPr>
              <a:picLocks noChangeAspect="1"/>
            </p:cNvPicPr>
            <p:nvPr/>
          </p:nvPicPr>
          <p:blipFill>
            <a:blip r:embed="rId2"/>
            <a:stretch>
              <a:fillRect/>
            </a:stretch>
          </p:blipFill>
          <p:spPr>
            <a:xfrm flipH="1">
              <a:off x="5091969" y="3813982"/>
              <a:ext cx="668568" cy="658663"/>
            </a:xfrm>
            <a:prstGeom prst="rect">
              <a:avLst/>
            </a:prstGeom>
          </p:spPr>
        </p:pic>
        <p:sp>
          <p:nvSpPr>
            <p:cNvPr id="19" name="TextBox 18"/>
            <p:cNvSpPr txBox="1"/>
            <p:nvPr/>
          </p:nvSpPr>
          <p:spPr>
            <a:xfrm>
              <a:off x="4850467" y="4472645"/>
              <a:ext cx="1095983"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Invoice Type</a:t>
              </a:r>
            </a:p>
          </p:txBody>
        </p:sp>
        <p:pic>
          <p:nvPicPr>
            <p:cNvPr id="20" name="Picture 19"/>
            <p:cNvPicPr>
              <a:picLocks noChangeAspect="1"/>
            </p:cNvPicPr>
            <p:nvPr/>
          </p:nvPicPr>
          <p:blipFill>
            <a:blip r:embed="rId2"/>
            <a:stretch>
              <a:fillRect/>
            </a:stretch>
          </p:blipFill>
          <p:spPr>
            <a:xfrm flipH="1">
              <a:off x="5042801" y="5129899"/>
              <a:ext cx="668568" cy="658663"/>
            </a:xfrm>
            <a:prstGeom prst="rect">
              <a:avLst/>
            </a:prstGeom>
          </p:spPr>
        </p:pic>
        <p:sp>
          <p:nvSpPr>
            <p:cNvPr id="21" name="TextBox 20"/>
            <p:cNvSpPr txBox="1"/>
            <p:nvPr/>
          </p:nvSpPr>
          <p:spPr>
            <a:xfrm>
              <a:off x="4850467" y="5788562"/>
              <a:ext cx="997932" cy="461665"/>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Other Master data</a:t>
              </a:r>
            </a:p>
          </p:txBody>
        </p:sp>
        <p:cxnSp>
          <p:nvCxnSpPr>
            <p:cNvPr id="39" name="Straight Connector 38"/>
            <p:cNvCxnSpPr/>
            <p:nvPr/>
          </p:nvCxnSpPr>
          <p:spPr>
            <a:xfrm flipH="1">
              <a:off x="3898107" y="1036669"/>
              <a:ext cx="1033" cy="5260614"/>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6809073" y="995843"/>
              <a:ext cx="1033" cy="5260614"/>
            </a:xfrm>
            <a:prstGeom prst="line">
              <a:avLst/>
            </a:prstGeom>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4067075" y="594589"/>
              <a:ext cx="2662765" cy="461665"/>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Load remaining Dimension or Reference data in parallel</a:t>
              </a:r>
            </a:p>
          </p:txBody>
        </p:sp>
      </p:grpSp>
      <p:sp>
        <p:nvSpPr>
          <p:cNvPr id="44" name="TextBox 43"/>
          <p:cNvSpPr txBox="1"/>
          <p:nvPr/>
        </p:nvSpPr>
        <p:spPr>
          <a:xfrm>
            <a:off x="8632352" y="1443985"/>
            <a:ext cx="2662765"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Load transactions data in parallel</a:t>
            </a:r>
          </a:p>
        </p:txBody>
      </p:sp>
      <p:cxnSp>
        <p:nvCxnSpPr>
          <p:cNvPr id="47" name="Straight Arrow Connector 46"/>
          <p:cNvCxnSpPr>
            <a:stCxn id="10" idx="1"/>
          </p:cNvCxnSpPr>
          <p:nvPr/>
        </p:nvCxnSpPr>
        <p:spPr>
          <a:xfrm>
            <a:off x="3837374" y="3215276"/>
            <a:ext cx="84677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7738782" y="3253990"/>
            <a:ext cx="135346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54518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5410690" y="2822030"/>
            <a:ext cx="1316438" cy="1584130"/>
            <a:chOff x="9333310" y="2386171"/>
            <a:chExt cx="1316438" cy="1584130"/>
          </a:xfrm>
        </p:grpSpPr>
        <p:pic>
          <p:nvPicPr>
            <p:cNvPr id="30" name="Picture 29"/>
            <p:cNvPicPr>
              <a:picLocks noChangeAspect="1"/>
            </p:cNvPicPr>
            <p:nvPr/>
          </p:nvPicPr>
          <p:blipFill>
            <a:blip r:embed="rId2">
              <a:duotone>
                <a:schemeClr val="accent2">
                  <a:shade val="45000"/>
                  <a:satMod val="135000"/>
                </a:schemeClr>
                <a:prstClr val="white"/>
              </a:duotone>
            </a:blip>
            <a:stretch>
              <a:fillRect/>
            </a:stretch>
          </p:blipFill>
          <p:spPr>
            <a:xfrm flipH="1">
              <a:off x="9333310" y="2386171"/>
              <a:ext cx="1316438" cy="1296935"/>
            </a:xfrm>
            <a:prstGeom prst="rect">
              <a:avLst/>
            </a:prstGeom>
          </p:spPr>
        </p:pic>
        <p:sp>
          <p:nvSpPr>
            <p:cNvPr id="31" name="TextBox 30"/>
            <p:cNvSpPr txBox="1"/>
            <p:nvPr/>
          </p:nvSpPr>
          <p:spPr>
            <a:xfrm>
              <a:off x="9513794" y="3693302"/>
              <a:ext cx="899882"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Sales</a:t>
              </a:r>
            </a:p>
          </p:txBody>
        </p:sp>
      </p:grpSp>
      <p:grpSp>
        <p:nvGrpSpPr>
          <p:cNvPr id="3" name="Group 2"/>
          <p:cNvGrpSpPr/>
          <p:nvPr/>
        </p:nvGrpSpPr>
        <p:grpSpPr>
          <a:xfrm>
            <a:off x="8277009" y="1790976"/>
            <a:ext cx="899882" cy="935662"/>
            <a:chOff x="5878226" y="1323172"/>
            <a:chExt cx="899882" cy="935662"/>
          </a:xfrm>
        </p:grpSpPr>
        <p:pic>
          <p:nvPicPr>
            <p:cNvPr id="14" name="Picture 13"/>
            <p:cNvPicPr>
              <a:picLocks noChangeAspect="1"/>
            </p:cNvPicPr>
            <p:nvPr/>
          </p:nvPicPr>
          <p:blipFill>
            <a:blip r:embed="rId2"/>
            <a:stretch>
              <a:fillRect/>
            </a:stretch>
          </p:blipFill>
          <p:spPr>
            <a:xfrm flipH="1">
              <a:off x="5993883" y="1323172"/>
              <a:ext cx="668568" cy="658663"/>
            </a:xfrm>
            <a:prstGeom prst="rect">
              <a:avLst/>
            </a:prstGeom>
          </p:spPr>
        </p:pic>
        <p:sp>
          <p:nvSpPr>
            <p:cNvPr id="15" name="TextBox 14"/>
            <p:cNvSpPr txBox="1"/>
            <p:nvPr/>
          </p:nvSpPr>
          <p:spPr>
            <a:xfrm>
              <a:off x="5878226" y="1981835"/>
              <a:ext cx="899882"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Product</a:t>
              </a:r>
            </a:p>
          </p:txBody>
        </p:sp>
      </p:grpSp>
      <p:grpSp>
        <p:nvGrpSpPr>
          <p:cNvPr id="6" name="Group 5"/>
          <p:cNvGrpSpPr/>
          <p:nvPr/>
        </p:nvGrpSpPr>
        <p:grpSpPr>
          <a:xfrm>
            <a:off x="2873052" y="2354199"/>
            <a:ext cx="1095983" cy="935662"/>
            <a:chOff x="5780176" y="3912653"/>
            <a:chExt cx="1095983" cy="935662"/>
          </a:xfrm>
        </p:grpSpPr>
        <p:pic>
          <p:nvPicPr>
            <p:cNvPr id="18" name="Picture 17"/>
            <p:cNvPicPr>
              <a:picLocks noChangeAspect="1"/>
            </p:cNvPicPr>
            <p:nvPr/>
          </p:nvPicPr>
          <p:blipFill>
            <a:blip r:embed="rId2"/>
            <a:stretch>
              <a:fillRect/>
            </a:stretch>
          </p:blipFill>
          <p:spPr>
            <a:xfrm flipH="1">
              <a:off x="6021678" y="3912653"/>
              <a:ext cx="668568" cy="658663"/>
            </a:xfrm>
            <a:prstGeom prst="rect">
              <a:avLst/>
            </a:prstGeom>
          </p:spPr>
        </p:pic>
        <p:sp>
          <p:nvSpPr>
            <p:cNvPr id="19" name="TextBox 18"/>
            <p:cNvSpPr txBox="1"/>
            <p:nvPr/>
          </p:nvSpPr>
          <p:spPr>
            <a:xfrm>
              <a:off x="5780176" y="4571316"/>
              <a:ext cx="1095983"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Invoice Type</a:t>
              </a:r>
            </a:p>
          </p:txBody>
        </p:sp>
      </p:grpSp>
      <p:grpSp>
        <p:nvGrpSpPr>
          <p:cNvPr id="12" name="Group 11"/>
          <p:cNvGrpSpPr/>
          <p:nvPr/>
        </p:nvGrpSpPr>
        <p:grpSpPr>
          <a:xfrm>
            <a:off x="3442417" y="4406160"/>
            <a:ext cx="997932" cy="1120328"/>
            <a:chOff x="5780176" y="5228570"/>
            <a:chExt cx="997932" cy="1120328"/>
          </a:xfrm>
        </p:grpSpPr>
        <p:pic>
          <p:nvPicPr>
            <p:cNvPr id="20" name="Picture 19"/>
            <p:cNvPicPr>
              <a:picLocks noChangeAspect="1"/>
            </p:cNvPicPr>
            <p:nvPr/>
          </p:nvPicPr>
          <p:blipFill>
            <a:blip r:embed="rId2"/>
            <a:stretch>
              <a:fillRect/>
            </a:stretch>
          </p:blipFill>
          <p:spPr>
            <a:xfrm flipH="1">
              <a:off x="5972510" y="5228570"/>
              <a:ext cx="668568" cy="658663"/>
            </a:xfrm>
            <a:prstGeom prst="rect">
              <a:avLst/>
            </a:prstGeom>
          </p:spPr>
        </p:pic>
        <p:sp>
          <p:nvSpPr>
            <p:cNvPr id="21" name="TextBox 20"/>
            <p:cNvSpPr txBox="1"/>
            <p:nvPr/>
          </p:nvSpPr>
          <p:spPr>
            <a:xfrm>
              <a:off x="5780176" y="5887233"/>
              <a:ext cx="997932" cy="461665"/>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Other Master data</a:t>
              </a:r>
            </a:p>
          </p:txBody>
        </p:sp>
      </p:grpSp>
      <p:grpSp>
        <p:nvGrpSpPr>
          <p:cNvPr id="13" name="Group 12"/>
          <p:cNvGrpSpPr/>
          <p:nvPr/>
        </p:nvGrpSpPr>
        <p:grpSpPr>
          <a:xfrm>
            <a:off x="6961515" y="4827824"/>
            <a:ext cx="1561381" cy="1304994"/>
            <a:chOff x="10023893" y="4896835"/>
            <a:chExt cx="1561381" cy="1304994"/>
          </a:xfrm>
        </p:grpSpPr>
        <p:pic>
          <p:nvPicPr>
            <p:cNvPr id="38" name="Picture 37"/>
            <p:cNvPicPr>
              <a:picLocks noChangeAspect="1"/>
            </p:cNvPicPr>
            <p:nvPr/>
          </p:nvPicPr>
          <p:blipFill>
            <a:blip r:embed="rId2"/>
            <a:stretch>
              <a:fillRect/>
            </a:stretch>
          </p:blipFill>
          <p:spPr>
            <a:xfrm flipH="1">
              <a:off x="10463006" y="4896835"/>
              <a:ext cx="668568" cy="658663"/>
            </a:xfrm>
            <a:prstGeom prst="rect">
              <a:avLst/>
            </a:prstGeom>
          </p:spPr>
        </p:pic>
        <p:sp>
          <p:nvSpPr>
            <p:cNvPr id="40" name="TextBox 39"/>
            <p:cNvSpPr txBox="1"/>
            <p:nvPr/>
          </p:nvSpPr>
          <p:spPr>
            <a:xfrm>
              <a:off x="10023893" y="5555498"/>
              <a:ext cx="1561381" cy="646331"/>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Geography comprising Country, State and City</a:t>
              </a:r>
            </a:p>
          </p:txBody>
        </p:sp>
      </p:grpSp>
      <p:cxnSp>
        <p:nvCxnSpPr>
          <p:cNvPr id="23" name="Straight Arrow Connector 22"/>
          <p:cNvCxnSpPr>
            <a:stCxn id="30" idx="0"/>
            <a:endCxn id="16" idx="2"/>
          </p:cNvCxnSpPr>
          <p:nvPr/>
        </p:nvCxnSpPr>
        <p:spPr>
          <a:xfrm flipV="1">
            <a:off x="6068909" y="1385033"/>
            <a:ext cx="112610" cy="1436997"/>
          </a:xfrm>
          <a:prstGeom prst="straightConnector1">
            <a:avLst/>
          </a:prstGeom>
          <a:ln w="6350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30" idx="3"/>
            <a:endCxn id="18" idx="1"/>
          </p:cNvCxnSpPr>
          <p:nvPr/>
        </p:nvCxnSpPr>
        <p:spPr>
          <a:xfrm flipH="1" flipV="1">
            <a:off x="3783122" y="2683531"/>
            <a:ext cx="1627568" cy="786967"/>
          </a:xfrm>
          <a:prstGeom prst="straightConnector1">
            <a:avLst/>
          </a:prstGeom>
          <a:ln w="6350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31" idx="1"/>
            <a:endCxn id="20" idx="1"/>
          </p:cNvCxnSpPr>
          <p:nvPr/>
        </p:nvCxnSpPr>
        <p:spPr>
          <a:xfrm flipH="1">
            <a:off x="4303319" y="4267661"/>
            <a:ext cx="1287855" cy="467831"/>
          </a:xfrm>
          <a:prstGeom prst="straightConnector1">
            <a:avLst/>
          </a:prstGeom>
          <a:ln w="6350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30" idx="1"/>
            <a:endCxn id="14" idx="3"/>
          </p:cNvCxnSpPr>
          <p:nvPr/>
        </p:nvCxnSpPr>
        <p:spPr>
          <a:xfrm flipV="1">
            <a:off x="6727128" y="2120308"/>
            <a:ext cx="1665538" cy="1350190"/>
          </a:xfrm>
          <a:prstGeom prst="straightConnector1">
            <a:avLst/>
          </a:prstGeom>
          <a:ln w="6350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31" idx="3"/>
            <a:endCxn id="38" idx="0"/>
          </p:cNvCxnSpPr>
          <p:nvPr/>
        </p:nvCxnSpPr>
        <p:spPr>
          <a:xfrm>
            <a:off x="6491056" y="4267661"/>
            <a:ext cx="1243856" cy="560163"/>
          </a:xfrm>
          <a:prstGeom prst="straightConnector1">
            <a:avLst/>
          </a:prstGeom>
          <a:ln w="6350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731578" y="726370"/>
            <a:ext cx="899882" cy="935662"/>
            <a:chOff x="5878227" y="2595327"/>
            <a:chExt cx="899882" cy="935662"/>
          </a:xfrm>
        </p:grpSpPr>
        <p:pic>
          <p:nvPicPr>
            <p:cNvPr id="16" name="Picture 15"/>
            <p:cNvPicPr>
              <a:picLocks noChangeAspect="1"/>
            </p:cNvPicPr>
            <p:nvPr/>
          </p:nvPicPr>
          <p:blipFill>
            <a:blip r:embed="rId2"/>
            <a:stretch>
              <a:fillRect/>
            </a:stretch>
          </p:blipFill>
          <p:spPr>
            <a:xfrm flipH="1">
              <a:off x="5993884" y="2595327"/>
              <a:ext cx="668568" cy="658663"/>
            </a:xfrm>
            <a:prstGeom prst="rect">
              <a:avLst/>
            </a:prstGeom>
          </p:spPr>
        </p:pic>
        <p:sp>
          <p:nvSpPr>
            <p:cNvPr id="17" name="TextBox 16"/>
            <p:cNvSpPr txBox="1"/>
            <p:nvPr/>
          </p:nvSpPr>
          <p:spPr>
            <a:xfrm>
              <a:off x="5878227" y="3253990"/>
              <a:ext cx="899882"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ustomer</a:t>
              </a:r>
            </a:p>
          </p:txBody>
        </p:sp>
      </p:grpSp>
    </p:spTree>
    <p:extLst>
      <p:ext uri="{BB962C8B-B14F-4D97-AF65-F5344CB8AC3E}">
        <p14:creationId xmlns:p14="http://schemas.microsoft.com/office/powerpoint/2010/main" val="32568563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ver_Layouts">
  <a:themeElements>
    <a:clrScheme name="Velrada_2017">
      <a:dk1>
        <a:srgbClr val="717073"/>
      </a:dk1>
      <a:lt1>
        <a:srgbClr val="FFFFFF"/>
      </a:lt1>
      <a:dk2>
        <a:srgbClr val="B881B8"/>
      </a:dk2>
      <a:lt2>
        <a:srgbClr val="C08FC0"/>
      </a:lt2>
      <a:accent1>
        <a:srgbClr val="744670"/>
      </a:accent1>
      <a:accent2>
        <a:srgbClr val="EF4136"/>
      </a:accent2>
      <a:accent3>
        <a:srgbClr val="F7941E"/>
      </a:accent3>
      <a:accent4>
        <a:srgbClr val="0082B7"/>
      </a:accent4>
      <a:accent5>
        <a:srgbClr val="7FB539"/>
      </a:accent5>
      <a:accent6>
        <a:srgbClr val="383739"/>
      </a:accent6>
      <a:hlink>
        <a:srgbClr val="00B0F0"/>
      </a:hlink>
      <a:folHlink>
        <a:srgbClr val="717073"/>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extLst>
    <a:ext uri="{05A4C25C-085E-4340-85A3-A5531E510DB2}">
      <thm15:themeFamily xmlns:thm15="http://schemas.microsoft.com/office/thememl/2012/main" name="Type" id="{64D6190C-E32F-4217-B315-698A5CBFF0B2}" vid="{C10046F7-1ABA-47A5-B807-867B44057636}"/>
    </a:ext>
  </a:extLst>
</a:theme>
</file>

<file path=ppt/theme/theme10.xml><?xml version="1.0" encoding="utf-8"?>
<a:theme xmlns:a="http://schemas.openxmlformats.org/drawingml/2006/main" name="4_Page_Layouts_Clean">
  <a:themeElements>
    <a:clrScheme name="Velrada_2017">
      <a:dk1>
        <a:srgbClr val="717073"/>
      </a:dk1>
      <a:lt1>
        <a:srgbClr val="FFFFFF"/>
      </a:lt1>
      <a:dk2>
        <a:srgbClr val="B881B8"/>
      </a:dk2>
      <a:lt2>
        <a:srgbClr val="C08FC0"/>
      </a:lt2>
      <a:accent1>
        <a:srgbClr val="744670"/>
      </a:accent1>
      <a:accent2>
        <a:srgbClr val="EF4136"/>
      </a:accent2>
      <a:accent3>
        <a:srgbClr val="F7941E"/>
      </a:accent3>
      <a:accent4>
        <a:srgbClr val="0082B7"/>
      </a:accent4>
      <a:accent5>
        <a:srgbClr val="7FB539"/>
      </a:accent5>
      <a:accent6>
        <a:srgbClr val="383739"/>
      </a:accent6>
      <a:hlink>
        <a:srgbClr val="00B0F0"/>
      </a:hlink>
      <a:folHlink>
        <a:srgbClr val="717073"/>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theme>
</file>

<file path=ppt/theme/theme11.xml><?xml version="1.0" encoding="utf-8"?>
<a:theme xmlns:a="http://schemas.openxmlformats.org/drawingml/2006/main" name="5_Page_Layouts_Clean">
  <a:themeElements>
    <a:clrScheme name="Velrada - Draft 2013">
      <a:dk1>
        <a:srgbClr val="717073"/>
      </a:dk1>
      <a:lt1>
        <a:srgbClr val="FFFFFF"/>
      </a:lt1>
      <a:dk2>
        <a:srgbClr val="717073"/>
      </a:dk2>
      <a:lt2>
        <a:srgbClr val="D8CFC6"/>
      </a:lt2>
      <a:accent1>
        <a:srgbClr val="5F3844"/>
      </a:accent1>
      <a:accent2>
        <a:srgbClr val="EF4136"/>
      </a:accent2>
      <a:accent3>
        <a:srgbClr val="F7941E"/>
      </a:accent3>
      <a:accent4>
        <a:srgbClr val="0082B7"/>
      </a:accent4>
      <a:accent5>
        <a:srgbClr val="872228"/>
      </a:accent5>
      <a:accent6>
        <a:srgbClr val="5D87A1"/>
      </a:accent6>
      <a:hlink>
        <a:srgbClr val="7FB539"/>
      </a:hlink>
      <a:folHlink>
        <a:srgbClr val="717073"/>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theme>
</file>

<file path=ppt/theme/theme12.xml><?xml version="1.0" encoding="utf-8"?>
<a:theme xmlns:a="http://schemas.openxmlformats.org/drawingml/2006/main" name="Page_Layouts_Light">
  <a:themeElements>
    <a:clrScheme name="Velrada - Draft 2013">
      <a:dk1>
        <a:srgbClr val="717073"/>
      </a:dk1>
      <a:lt1>
        <a:srgbClr val="FFFFFF"/>
      </a:lt1>
      <a:dk2>
        <a:srgbClr val="717073"/>
      </a:dk2>
      <a:lt2>
        <a:srgbClr val="D8CFC6"/>
      </a:lt2>
      <a:accent1>
        <a:srgbClr val="5F3844"/>
      </a:accent1>
      <a:accent2>
        <a:srgbClr val="EF4136"/>
      </a:accent2>
      <a:accent3>
        <a:srgbClr val="F7941E"/>
      </a:accent3>
      <a:accent4>
        <a:srgbClr val="0082B7"/>
      </a:accent4>
      <a:accent5>
        <a:srgbClr val="872228"/>
      </a:accent5>
      <a:accent6>
        <a:srgbClr val="5D87A1"/>
      </a:accent6>
      <a:hlink>
        <a:srgbClr val="7FB539"/>
      </a:hlink>
      <a:folHlink>
        <a:srgbClr val="717073"/>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ver_Layouts">
  <a:themeElements>
    <a:clrScheme name="Velrada_2017">
      <a:dk1>
        <a:srgbClr val="717073"/>
      </a:dk1>
      <a:lt1>
        <a:srgbClr val="FFFFFF"/>
      </a:lt1>
      <a:dk2>
        <a:srgbClr val="B881B8"/>
      </a:dk2>
      <a:lt2>
        <a:srgbClr val="C08FC0"/>
      </a:lt2>
      <a:accent1>
        <a:srgbClr val="744670"/>
      </a:accent1>
      <a:accent2>
        <a:srgbClr val="EF4136"/>
      </a:accent2>
      <a:accent3>
        <a:srgbClr val="F7941E"/>
      </a:accent3>
      <a:accent4>
        <a:srgbClr val="0082B7"/>
      </a:accent4>
      <a:accent5>
        <a:srgbClr val="7FB539"/>
      </a:accent5>
      <a:accent6>
        <a:srgbClr val="383739"/>
      </a:accent6>
      <a:hlink>
        <a:srgbClr val="00B0F0"/>
      </a:hlink>
      <a:folHlink>
        <a:srgbClr val="717073"/>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extLst>
    <a:ext uri="{05A4C25C-085E-4340-85A3-A5531E510DB2}">
      <thm15:themeFamily xmlns:thm15="http://schemas.microsoft.com/office/thememl/2012/main" name="Type" id="{64D6190C-E32F-4217-B315-698A5CBFF0B2}" vid="{C10046F7-1ABA-47A5-B807-867B44057636}"/>
    </a:ext>
  </a:extLst>
</a:theme>
</file>

<file path=ppt/theme/theme3.xml><?xml version="1.0" encoding="utf-8"?>
<a:theme xmlns:a="http://schemas.openxmlformats.org/drawingml/2006/main" name="Back Covers">
  <a:themeElements>
    <a:clrScheme name="Velrada_2017">
      <a:dk1>
        <a:srgbClr val="717073"/>
      </a:dk1>
      <a:lt1>
        <a:srgbClr val="FFFFFF"/>
      </a:lt1>
      <a:dk2>
        <a:srgbClr val="B881B8"/>
      </a:dk2>
      <a:lt2>
        <a:srgbClr val="C08FC0"/>
      </a:lt2>
      <a:accent1>
        <a:srgbClr val="744670"/>
      </a:accent1>
      <a:accent2>
        <a:srgbClr val="EF4136"/>
      </a:accent2>
      <a:accent3>
        <a:srgbClr val="F7941E"/>
      </a:accent3>
      <a:accent4>
        <a:srgbClr val="0082B7"/>
      </a:accent4>
      <a:accent5>
        <a:srgbClr val="7FB539"/>
      </a:accent5>
      <a:accent6>
        <a:srgbClr val="383739"/>
      </a:accent6>
      <a:hlink>
        <a:srgbClr val="00B0F0"/>
      </a:hlink>
      <a:folHlink>
        <a:srgbClr val="717073"/>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theme>
</file>

<file path=ppt/theme/theme4.xml><?xml version="1.0" encoding="utf-8"?>
<a:theme xmlns:a="http://schemas.openxmlformats.org/drawingml/2006/main" name="Page_Layouts_Clean">
  <a:themeElements>
    <a:clrScheme name="Velrada_2017">
      <a:dk1>
        <a:srgbClr val="717073"/>
      </a:dk1>
      <a:lt1>
        <a:srgbClr val="FFFFFF"/>
      </a:lt1>
      <a:dk2>
        <a:srgbClr val="B881B8"/>
      </a:dk2>
      <a:lt2>
        <a:srgbClr val="C08FC0"/>
      </a:lt2>
      <a:accent1>
        <a:srgbClr val="744670"/>
      </a:accent1>
      <a:accent2>
        <a:srgbClr val="EF4136"/>
      </a:accent2>
      <a:accent3>
        <a:srgbClr val="F7941E"/>
      </a:accent3>
      <a:accent4>
        <a:srgbClr val="0082B7"/>
      </a:accent4>
      <a:accent5>
        <a:srgbClr val="7FB539"/>
      </a:accent5>
      <a:accent6>
        <a:srgbClr val="383739"/>
      </a:accent6>
      <a:hlink>
        <a:srgbClr val="00B0F0"/>
      </a:hlink>
      <a:folHlink>
        <a:srgbClr val="717073"/>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theme>
</file>

<file path=ppt/theme/theme5.xml><?xml version="1.0" encoding="utf-8"?>
<a:theme xmlns:a="http://schemas.openxmlformats.org/drawingml/2006/main" name="1_Page_Layouts_Clean">
  <a:themeElements>
    <a:clrScheme name="Velrada_2017">
      <a:dk1>
        <a:srgbClr val="717073"/>
      </a:dk1>
      <a:lt1>
        <a:srgbClr val="FFFFFF"/>
      </a:lt1>
      <a:dk2>
        <a:srgbClr val="B881B8"/>
      </a:dk2>
      <a:lt2>
        <a:srgbClr val="C08FC0"/>
      </a:lt2>
      <a:accent1>
        <a:srgbClr val="744670"/>
      </a:accent1>
      <a:accent2>
        <a:srgbClr val="EF4136"/>
      </a:accent2>
      <a:accent3>
        <a:srgbClr val="F7941E"/>
      </a:accent3>
      <a:accent4>
        <a:srgbClr val="0082B7"/>
      </a:accent4>
      <a:accent5>
        <a:srgbClr val="7FB539"/>
      </a:accent5>
      <a:accent6>
        <a:srgbClr val="383739"/>
      </a:accent6>
      <a:hlink>
        <a:srgbClr val="00B0F0"/>
      </a:hlink>
      <a:folHlink>
        <a:srgbClr val="717073"/>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theme>
</file>

<file path=ppt/theme/theme6.xml><?xml version="1.0" encoding="utf-8"?>
<a:theme xmlns:a="http://schemas.openxmlformats.org/drawingml/2006/main" name="1_Back Covers">
  <a:themeElements>
    <a:clrScheme name="Velrada_2017">
      <a:dk1>
        <a:srgbClr val="717073"/>
      </a:dk1>
      <a:lt1>
        <a:srgbClr val="FFFFFF"/>
      </a:lt1>
      <a:dk2>
        <a:srgbClr val="B881B8"/>
      </a:dk2>
      <a:lt2>
        <a:srgbClr val="C08FC0"/>
      </a:lt2>
      <a:accent1>
        <a:srgbClr val="744670"/>
      </a:accent1>
      <a:accent2>
        <a:srgbClr val="EF4136"/>
      </a:accent2>
      <a:accent3>
        <a:srgbClr val="F7941E"/>
      </a:accent3>
      <a:accent4>
        <a:srgbClr val="0082B7"/>
      </a:accent4>
      <a:accent5>
        <a:srgbClr val="7FB539"/>
      </a:accent5>
      <a:accent6>
        <a:srgbClr val="383739"/>
      </a:accent6>
      <a:hlink>
        <a:srgbClr val="00B0F0"/>
      </a:hlink>
      <a:folHlink>
        <a:srgbClr val="717073"/>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theme>
</file>

<file path=ppt/theme/theme7.xml><?xml version="1.0" encoding="utf-8"?>
<a:theme xmlns:a="http://schemas.openxmlformats.org/drawingml/2006/main" name="2_Page_Layouts_Clean">
  <a:themeElements>
    <a:clrScheme name="Velrada_2017">
      <a:dk1>
        <a:srgbClr val="717073"/>
      </a:dk1>
      <a:lt1>
        <a:srgbClr val="FFFFFF"/>
      </a:lt1>
      <a:dk2>
        <a:srgbClr val="B881B8"/>
      </a:dk2>
      <a:lt2>
        <a:srgbClr val="C08FC0"/>
      </a:lt2>
      <a:accent1>
        <a:srgbClr val="744670"/>
      </a:accent1>
      <a:accent2>
        <a:srgbClr val="EF4136"/>
      </a:accent2>
      <a:accent3>
        <a:srgbClr val="F7941E"/>
      </a:accent3>
      <a:accent4>
        <a:srgbClr val="0082B7"/>
      </a:accent4>
      <a:accent5>
        <a:srgbClr val="7FB539"/>
      </a:accent5>
      <a:accent6>
        <a:srgbClr val="383739"/>
      </a:accent6>
      <a:hlink>
        <a:srgbClr val="00B0F0"/>
      </a:hlink>
      <a:folHlink>
        <a:srgbClr val="717073"/>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theme>
</file>

<file path=ppt/theme/theme8.xml><?xml version="1.0" encoding="utf-8"?>
<a:theme xmlns:a="http://schemas.openxmlformats.org/drawingml/2006/main" name="2_Back Covers">
  <a:themeElements>
    <a:clrScheme name="Velrada_2017">
      <a:dk1>
        <a:srgbClr val="717073"/>
      </a:dk1>
      <a:lt1>
        <a:srgbClr val="FFFFFF"/>
      </a:lt1>
      <a:dk2>
        <a:srgbClr val="B881B8"/>
      </a:dk2>
      <a:lt2>
        <a:srgbClr val="C08FC0"/>
      </a:lt2>
      <a:accent1>
        <a:srgbClr val="744670"/>
      </a:accent1>
      <a:accent2>
        <a:srgbClr val="EF4136"/>
      </a:accent2>
      <a:accent3>
        <a:srgbClr val="F7941E"/>
      </a:accent3>
      <a:accent4>
        <a:srgbClr val="0082B7"/>
      </a:accent4>
      <a:accent5>
        <a:srgbClr val="7FB539"/>
      </a:accent5>
      <a:accent6>
        <a:srgbClr val="383739"/>
      </a:accent6>
      <a:hlink>
        <a:srgbClr val="00B0F0"/>
      </a:hlink>
      <a:folHlink>
        <a:srgbClr val="717073"/>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theme>
</file>

<file path=ppt/theme/theme9.xml><?xml version="1.0" encoding="utf-8"?>
<a:theme xmlns:a="http://schemas.openxmlformats.org/drawingml/2006/main" name="3_Page_Layouts_Clean">
  <a:themeElements>
    <a:clrScheme name="Velrada_2017">
      <a:dk1>
        <a:srgbClr val="717073"/>
      </a:dk1>
      <a:lt1>
        <a:srgbClr val="FFFFFF"/>
      </a:lt1>
      <a:dk2>
        <a:srgbClr val="B881B8"/>
      </a:dk2>
      <a:lt2>
        <a:srgbClr val="C08FC0"/>
      </a:lt2>
      <a:accent1>
        <a:srgbClr val="744670"/>
      </a:accent1>
      <a:accent2>
        <a:srgbClr val="EF4136"/>
      </a:accent2>
      <a:accent3>
        <a:srgbClr val="F7941E"/>
      </a:accent3>
      <a:accent4>
        <a:srgbClr val="0082B7"/>
      </a:accent4>
      <a:accent5>
        <a:srgbClr val="7FB539"/>
      </a:accent5>
      <a:accent6>
        <a:srgbClr val="383739"/>
      </a:accent6>
      <a:hlink>
        <a:srgbClr val="00B0F0"/>
      </a:hlink>
      <a:folHlink>
        <a:srgbClr val="717073"/>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5FD862EB562CD43BFB51B470922ECDB" ma:contentTypeVersion="" ma:contentTypeDescription="Create a new document." ma:contentTypeScope="" ma:versionID="f69e151a6dcd0f1f56bf52d27cf79de3">
  <xsd:schema xmlns:xsd="http://www.w3.org/2001/XMLSchema" xmlns:xs="http://www.w3.org/2001/XMLSchema" xmlns:p="http://schemas.microsoft.com/office/2006/metadata/properties" xmlns:ns2="6d16ad39-d2e9-468d-b772-09a1b16a7b89" xmlns:ns3="F44A4D85-A415-44B8-BA6E-3CE68A1DE957" xmlns:ns4="96007c9f-7da6-4669-9f9e-99dfcd77ddc7" xmlns:ns5="f2453d5f-f0bf-4002-b434-b7e648276c50" targetNamespace="http://schemas.microsoft.com/office/2006/metadata/properties" ma:root="true" ma:fieldsID="421bbffc05e1ae1534743ffc24fa23e2" ns2:_="" ns3:_="" ns4:_="" ns5:_="">
    <xsd:import namespace="6d16ad39-d2e9-468d-b772-09a1b16a7b89"/>
    <xsd:import namespace="F44A4D85-A415-44B8-BA6E-3CE68A1DE957"/>
    <xsd:import namespace="96007c9f-7da6-4669-9f9e-99dfcd77ddc7"/>
    <xsd:import namespace="f2453d5f-f0bf-4002-b434-b7e648276c50"/>
    <xsd:element name="properties">
      <xsd:complexType>
        <xsd:sequence>
          <xsd:element name="documentManagement">
            <xsd:complexType>
              <xsd:all>
                <xsd:element ref="ns3:MediaServiceMetadata" minOccurs="0"/>
                <xsd:element ref="ns3:MediaServiceFastMetadata" minOccurs="0"/>
                <xsd:element ref="ns2:TaxKeywordTaxHTField" minOccurs="0"/>
                <xsd:element ref="ns4:TaxCatchAll" minOccurs="0"/>
                <xsd:element ref="ns5:SharedWithUsers" minOccurs="0"/>
                <xsd:element ref="ns5: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16ad39-d2e9-468d-b772-09a1b16a7b89" elementFormDefault="qualified">
    <xsd:import namespace="http://schemas.microsoft.com/office/2006/documentManagement/types"/>
    <xsd:import namespace="http://schemas.microsoft.com/office/infopath/2007/PartnerControls"/>
    <xsd:element name="TaxKeywordTaxHTField" ma:index="7" nillable="true" ma:taxonomy="true" ma:internalName="TaxKeywordTaxHTField" ma:taxonomyFieldName="TaxKeyword" ma:displayName="Enterprise Keywords" ma:fieldId="{23f27201-bee3-471e-b2e7-b64fd8b7ca38}" ma:taxonomyMulti="true" ma:sspId="934aa98b-8686-466b-b341-741970af6e1a"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44A4D85-A415-44B8-BA6E-3CE68A1DE957" elementFormDefault="qualified">
    <xsd:import namespace="http://schemas.microsoft.com/office/2006/documentManagement/types"/>
    <xsd:import namespace="http://schemas.microsoft.com/office/infopath/2007/PartnerControls"/>
    <xsd:element name="MediaServiceMetadata" ma:index="5" nillable="true" ma:displayName="MediaServiceMetadata" ma:hidden="true" ma:internalName="MediaServiceMetadata" ma:readOnly="true">
      <xsd:simpleType>
        <xsd:restriction base="dms:Note"/>
      </xsd:simpleType>
    </xsd:element>
    <xsd:element name="MediaServiceFastMetadata" ma:index="6"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6007c9f-7da6-4669-9f9e-99dfcd77ddc7"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d3ac3de2-ae1c-4e07-abc7-68ac4adf96d0}" ma:internalName="TaxCatchAll" ma:showField="CatchAllData" ma:web="6d16ad39-d2e9-468d-b772-09a1b16a7b89">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2453d5f-f0bf-4002-b434-b7e648276c50"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96007c9f-7da6-4669-9f9e-99dfcd77ddc7"/>
    <TaxKeywordTaxHTField xmlns="6d16ad39-d2e9-468d-b772-09a1b16a7b89">
      <Terms xmlns="http://schemas.microsoft.com/office/infopath/2007/PartnerControls"/>
    </TaxKeywordTaxHTField>
  </documentManagement>
</p:properties>
</file>

<file path=customXml/itemProps1.xml><?xml version="1.0" encoding="utf-8"?>
<ds:datastoreItem xmlns:ds="http://schemas.openxmlformats.org/officeDocument/2006/customXml" ds:itemID="{4D9277A1-148F-4B8D-BE01-3D2383FABD3F}">
  <ds:schemaRefs>
    <ds:schemaRef ds:uri="http://schemas.microsoft.com/sharepoint/v3/contenttype/forms"/>
  </ds:schemaRefs>
</ds:datastoreItem>
</file>

<file path=customXml/itemProps2.xml><?xml version="1.0" encoding="utf-8"?>
<ds:datastoreItem xmlns:ds="http://schemas.openxmlformats.org/officeDocument/2006/customXml" ds:itemID="{0B635CE7-EFB5-430B-8409-472F86517C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d16ad39-d2e9-468d-b772-09a1b16a7b89"/>
    <ds:schemaRef ds:uri="F44A4D85-A415-44B8-BA6E-3CE68A1DE957"/>
    <ds:schemaRef ds:uri="96007c9f-7da6-4669-9f9e-99dfcd77ddc7"/>
    <ds:schemaRef ds:uri="f2453d5f-f0bf-4002-b434-b7e648276c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98D727C-ACFA-45FC-B215-3C85A67734CA}">
  <ds:schemaRefs>
    <ds:schemaRef ds:uri="http://schemas.microsoft.com/office/2006/metadata/properties"/>
    <ds:schemaRef ds:uri="f2453d5f-f0bf-4002-b434-b7e648276c50"/>
    <ds:schemaRef ds:uri="6d16ad39-d2e9-468d-b772-09a1b16a7b89"/>
    <ds:schemaRef ds:uri="96007c9f-7da6-4669-9f9e-99dfcd77ddc7"/>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F44A4D85-A415-44B8-BA6E-3CE68A1DE957"/>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Type</Template>
  <TotalTime>59283</TotalTime>
  <Words>649</Words>
  <Application>Microsoft Office PowerPoint</Application>
  <PresentationFormat>Widescreen</PresentationFormat>
  <Paragraphs>128</Paragraphs>
  <Slides>9</Slides>
  <Notes>0</Notes>
  <HiddenSlides>0</HiddenSlides>
  <MMClips>0</MMClips>
  <ScaleCrop>false</ScaleCrop>
  <HeadingPairs>
    <vt:vector size="8" baseType="variant">
      <vt:variant>
        <vt:lpstr>Fonts Used</vt:lpstr>
      </vt:variant>
      <vt:variant>
        <vt:i4>6</vt:i4>
      </vt:variant>
      <vt:variant>
        <vt:lpstr>Theme</vt:lpstr>
      </vt:variant>
      <vt:variant>
        <vt:i4>12</vt:i4>
      </vt:variant>
      <vt:variant>
        <vt:lpstr>Embedded OLE Servers</vt:lpstr>
      </vt:variant>
      <vt:variant>
        <vt:i4>1</vt:i4>
      </vt:variant>
      <vt:variant>
        <vt:lpstr>Slide Titles</vt:lpstr>
      </vt:variant>
      <vt:variant>
        <vt:i4>9</vt:i4>
      </vt:variant>
    </vt:vector>
  </HeadingPairs>
  <TitlesOfParts>
    <vt:vector size="28" baseType="lpstr">
      <vt:lpstr>Arial</vt:lpstr>
      <vt:lpstr>Arial Black</vt:lpstr>
      <vt:lpstr>Calibri</vt:lpstr>
      <vt:lpstr>Segoe UI</vt:lpstr>
      <vt:lpstr>Segoe UI Light</vt:lpstr>
      <vt:lpstr>Segoe UI Semilight</vt:lpstr>
      <vt:lpstr>1_Cover_Layouts</vt:lpstr>
      <vt:lpstr>Cover_Layouts</vt:lpstr>
      <vt:lpstr>Back Covers</vt:lpstr>
      <vt:lpstr>Page_Layouts_Clean</vt:lpstr>
      <vt:lpstr>1_Page_Layouts_Clean</vt:lpstr>
      <vt:lpstr>1_Back Covers</vt:lpstr>
      <vt:lpstr>2_Page_Layouts_Clean</vt:lpstr>
      <vt:lpstr>2_Back Covers</vt:lpstr>
      <vt:lpstr>3_Page_Layouts_Clean</vt:lpstr>
      <vt:lpstr>4_Page_Layouts_Clean</vt:lpstr>
      <vt:lpstr>5_Page_Layouts_Clean</vt:lpstr>
      <vt:lpstr>Page_Layouts_Light</vt:lpstr>
      <vt:lpstr>think-cell Slide</vt:lpstr>
      <vt:lpstr>Cloud based</vt:lpstr>
      <vt:lpstr>PowerPoint Presentation</vt:lpstr>
      <vt:lpstr>Features of ADF Framework</vt:lpstr>
      <vt:lpstr>Benefits of ADF Framework</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account</dc:creator>
  <cp:lastModifiedBy>Rahul Agrawal</cp:lastModifiedBy>
  <cp:revision>2081</cp:revision>
  <cp:lastPrinted>2017-07-21T06:19:05Z</cp:lastPrinted>
  <dcterms:created xsi:type="dcterms:W3CDTF">2014-11-18T02:51:45Z</dcterms:created>
  <dcterms:modified xsi:type="dcterms:W3CDTF">2019-06-10T06:3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5FD862EB562CD43BFB51B470922ECDB</vt:lpwstr>
  </property>
  <property fmtid="{D5CDD505-2E9C-101B-9397-08002B2CF9AE}" pid="3" name="TaxKeyword">
    <vt:lpwstr/>
  </property>
</Properties>
</file>